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Override1.xml" ContentType="application/vnd.openxmlformats-officedocument.themeOverride+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8" r:id="rId4"/>
  </p:sldMasterIdLst>
  <p:notesMasterIdLst>
    <p:notesMasterId r:id="rId27"/>
  </p:notesMasterIdLst>
  <p:sldIdLst>
    <p:sldId id="280" r:id="rId5"/>
    <p:sldId id="354" r:id="rId6"/>
    <p:sldId id="392" r:id="rId7"/>
    <p:sldId id="389" r:id="rId8"/>
    <p:sldId id="383" r:id="rId9"/>
    <p:sldId id="384" r:id="rId10"/>
    <p:sldId id="385" r:id="rId11"/>
    <p:sldId id="386" r:id="rId12"/>
    <p:sldId id="387" r:id="rId13"/>
    <p:sldId id="388" r:id="rId14"/>
    <p:sldId id="390" r:id="rId15"/>
    <p:sldId id="391" r:id="rId16"/>
    <p:sldId id="395" r:id="rId17"/>
    <p:sldId id="358" r:id="rId18"/>
    <p:sldId id="369" r:id="rId19"/>
    <p:sldId id="393" r:id="rId20"/>
    <p:sldId id="394" r:id="rId21"/>
    <p:sldId id="359" r:id="rId22"/>
    <p:sldId id="365" r:id="rId23"/>
    <p:sldId id="356" r:id="rId24"/>
    <p:sldId id="396" r:id="rId25"/>
    <p:sldId id="297" r:id="rId26"/>
  </p:sldIdLst>
  <p:sldSz cx="12192000" cy="6858000"/>
  <p:notesSz cx="6858000" cy="9144000"/>
  <p:defaultTextStyle>
    <a:defPPr>
      <a:defRPr lang="en-GB"/>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CF96008-6BD5-2CB8-3446-72864F3A69BC}" name="ahassani@fpz.unizg.hr" initials="ah" userId="S::urn:spo:guest#ahassani@fpz.unizg.hr::" providerId="AD"/>
  <p188:author id="{58105D26-9A15-E5CB-6AA9-2E977F6754E7}" name="Amir Pooyan Afghari" initials="AA" userId="S::apafghari@tudelft.nl::9414e801-e0a1-45e3-8b21-c1d200cd4f5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D39603-7AE5-443F-8F07-52E71F29CB85}" v="74" dt="2026-04-15T08:26:06.57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56" autoAdjust="0"/>
    <p:restoredTop sz="86861" autoAdjust="0"/>
  </p:normalViewPr>
  <p:slideViewPr>
    <p:cSldViewPr snapToGrid="0">
      <p:cViewPr>
        <p:scale>
          <a:sx n="55" d="100"/>
          <a:sy n="55" d="100"/>
        </p:scale>
        <p:origin x="1088"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ir Pooyan Afghari" userId="9414e801-e0a1-45e3-8b21-c1d200cd4f56" providerId="ADAL" clId="{593D1F5E-91D9-4DB0-A397-6E6B89CD3939}"/>
    <pc:docChg chg="undo redo custSel addSld delSld modSld sldOrd">
      <pc:chgData name="Amir Pooyan Afghari" userId="9414e801-e0a1-45e3-8b21-c1d200cd4f56" providerId="ADAL" clId="{593D1F5E-91D9-4DB0-A397-6E6B89CD3939}" dt="2026-04-15T08:26:40.480" v="835" actId="6549"/>
      <pc:docMkLst>
        <pc:docMk/>
      </pc:docMkLst>
      <pc:sldChg chg="modSp mod">
        <pc:chgData name="Amir Pooyan Afghari" userId="9414e801-e0a1-45e3-8b21-c1d200cd4f56" providerId="ADAL" clId="{593D1F5E-91D9-4DB0-A397-6E6B89CD3939}" dt="2026-04-14T20:52:46.690" v="104" actId="20577"/>
        <pc:sldMkLst>
          <pc:docMk/>
          <pc:sldMk cId="109661858" sldId="280"/>
        </pc:sldMkLst>
        <pc:spChg chg="mod">
          <ac:chgData name="Amir Pooyan Afghari" userId="9414e801-e0a1-45e3-8b21-c1d200cd4f56" providerId="ADAL" clId="{593D1F5E-91D9-4DB0-A397-6E6B89CD3939}" dt="2026-04-14T20:52:24.134" v="102" actId="20577"/>
          <ac:spMkLst>
            <pc:docMk/>
            <pc:sldMk cId="109661858" sldId="280"/>
            <ac:spMk id="9" creationId="{BA9C95B1-529A-D0BA-097C-E4CA1D6F2BD8}"/>
          </ac:spMkLst>
        </pc:spChg>
        <pc:spChg chg="mod">
          <ac:chgData name="Amir Pooyan Afghari" userId="9414e801-e0a1-45e3-8b21-c1d200cd4f56" providerId="ADAL" clId="{593D1F5E-91D9-4DB0-A397-6E6B89CD3939}" dt="2026-04-14T20:52:46.690" v="104" actId="20577"/>
          <ac:spMkLst>
            <pc:docMk/>
            <pc:sldMk cId="109661858" sldId="280"/>
            <ac:spMk id="10" creationId="{E084966E-D7F5-D7A2-81A4-08A3C3A3ABED}"/>
          </ac:spMkLst>
        </pc:spChg>
      </pc:sldChg>
      <pc:sldChg chg="addSp modSp mod">
        <pc:chgData name="Amir Pooyan Afghari" userId="9414e801-e0a1-45e3-8b21-c1d200cd4f56" providerId="ADAL" clId="{593D1F5E-91D9-4DB0-A397-6E6B89CD3939}" dt="2026-04-15T04:43:16.835" v="214" actId="1076"/>
        <pc:sldMkLst>
          <pc:docMk/>
          <pc:sldMk cId="3620215693" sldId="358"/>
        </pc:sldMkLst>
        <pc:picChg chg="add mod">
          <ac:chgData name="Amir Pooyan Afghari" userId="9414e801-e0a1-45e3-8b21-c1d200cd4f56" providerId="ADAL" clId="{593D1F5E-91D9-4DB0-A397-6E6B89CD3939}" dt="2026-04-15T04:43:10.844" v="212" actId="1076"/>
          <ac:picMkLst>
            <pc:docMk/>
            <pc:sldMk cId="3620215693" sldId="358"/>
            <ac:picMk id="3" creationId="{57C198BD-DC2A-6746-CF0C-17F5F24A88ED}"/>
          </ac:picMkLst>
        </pc:picChg>
        <pc:picChg chg="mod">
          <ac:chgData name="Amir Pooyan Afghari" userId="9414e801-e0a1-45e3-8b21-c1d200cd4f56" providerId="ADAL" clId="{593D1F5E-91D9-4DB0-A397-6E6B89CD3939}" dt="2026-04-15T04:39:18.437" v="199" actId="1076"/>
          <ac:picMkLst>
            <pc:docMk/>
            <pc:sldMk cId="3620215693" sldId="358"/>
            <ac:picMk id="5" creationId="{824DAC16-9300-BAB0-69A8-16B0490618AD}"/>
          </ac:picMkLst>
        </pc:picChg>
        <pc:picChg chg="mod">
          <ac:chgData name="Amir Pooyan Afghari" userId="9414e801-e0a1-45e3-8b21-c1d200cd4f56" providerId="ADAL" clId="{593D1F5E-91D9-4DB0-A397-6E6B89CD3939}" dt="2026-04-15T04:39:13.131" v="197" actId="14100"/>
          <ac:picMkLst>
            <pc:docMk/>
            <pc:sldMk cId="3620215693" sldId="358"/>
            <ac:picMk id="6" creationId="{410AD434-9DC3-4D42-993A-8E82666D7BF6}"/>
          </ac:picMkLst>
        </pc:picChg>
        <pc:picChg chg="mod">
          <ac:chgData name="Amir Pooyan Afghari" userId="9414e801-e0a1-45e3-8b21-c1d200cd4f56" providerId="ADAL" clId="{593D1F5E-91D9-4DB0-A397-6E6B89CD3939}" dt="2026-04-15T04:39:13.131" v="197" actId="14100"/>
          <ac:picMkLst>
            <pc:docMk/>
            <pc:sldMk cId="3620215693" sldId="358"/>
            <ac:picMk id="8" creationId="{D2A8402D-36C3-12AF-F3D7-78E9AED7ACE3}"/>
          </ac:picMkLst>
        </pc:picChg>
        <pc:picChg chg="mod">
          <ac:chgData name="Amir Pooyan Afghari" userId="9414e801-e0a1-45e3-8b21-c1d200cd4f56" providerId="ADAL" clId="{593D1F5E-91D9-4DB0-A397-6E6B89CD3939}" dt="2026-04-15T04:39:13.131" v="197" actId="14100"/>
          <ac:picMkLst>
            <pc:docMk/>
            <pc:sldMk cId="3620215693" sldId="358"/>
            <ac:picMk id="10" creationId="{BF31660F-A19A-6D51-27B7-EF295711A87E}"/>
          </ac:picMkLst>
        </pc:picChg>
        <pc:picChg chg="mod">
          <ac:chgData name="Amir Pooyan Afghari" userId="9414e801-e0a1-45e3-8b21-c1d200cd4f56" providerId="ADAL" clId="{593D1F5E-91D9-4DB0-A397-6E6B89CD3939}" dt="2026-04-15T04:39:16.543" v="198" actId="1076"/>
          <ac:picMkLst>
            <pc:docMk/>
            <pc:sldMk cId="3620215693" sldId="358"/>
            <ac:picMk id="11" creationId="{4339462E-9987-E15E-2F7B-B658B7194F36}"/>
          </ac:picMkLst>
        </pc:picChg>
        <pc:picChg chg="mod">
          <ac:chgData name="Amir Pooyan Afghari" userId="9414e801-e0a1-45e3-8b21-c1d200cd4f56" providerId="ADAL" clId="{593D1F5E-91D9-4DB0-A397-6E6B89CD3939}" dt="2026-04-15T04:39:20.907" v="200" actId="1076"/>
          <ac:picMkLst>
            <pc:docMk/>
            <pc:sldMk cId="3620215693" sldId="358"/>
            <ac:picMk id="12" creationId="{210F12CE-DCC5-3FF0-9510-7FB21D502D41}"/>
          </ac:picMkLst>
        </pc:picChg>
        <pc:picChg chg="add mod">
          <ac:chgData name="Amir Pooyan Afghari" userId="9414e801-e0a1-45e3-8b21-c1d200cd4f56" providerId="ADAL" clId="{593D1F5E-91D9-4DB0-A397-6E6B89CD3939}" dt="2026-04-15T04:43:16.835" v="214" actId="1076"/>
          <ac:picMkLst>
            <pc:docMk/>
            <pc:sldMk cId="3620215693" sldId="358"/>
            <ac:picMk id="1026" creationId="{DB3843FF-7850-A4AD-11C0-60B8930639D3}"/>
          </ac:picMkLst>
        </pc:picChg>
      </pc:sldChg>
      <pc:sldChg chg="del">
        <pc:chgData name="Amir Pooyan Afghari" userId="9414e801-e0a1-45e3-8b21-c1d200cd4f56" providerId="ADAL" clId="{593D1F5E-91D9-4DB0-A397-6E6B89CD3939}" dt="2026-04-15T05:03:31.649" v="281" actId="47"/>
        <pc:sldMkLst>
          <pc:docMk/>
          <pc:sldMk cId="3964359084" sldId="363"/>
        </pc:sldMkLst>
      </pc:sldChg>
      <pc:sldChg chg="delSp modSp mod modAnim">
        <pc:chgData name="Amir Pooyan Afghari" userId="9414e801-e0a1-45e3-8b21-c1d200cd4f56" providerId="ADAL" clId="{593D1F5E-91D9-4DB0-A397-6E6B89CD3939}" dt="2026-04-15T05:00:33.433" v="261"/>
        <pc:sldMkLst>
          <pc:docMk/>
          <pc:sldMk cId="2749984636" sldId="369"/>
        </pc:sldMkLst>
        <pc:spChg chg="mod">
          <ac:chgData name="Amir Pooyan Afghari" userId="9414e801-e0a1-45e3-8b21-c1d200cd4f56" providerId="ADAL" clId="{593D1F5E-91D9-4DB0-A397-6E6B89CD3939}" dt="2026-04-14T21:01:57.544" v="117" actId="20577"/>
          <ac:spMkLst>
            <pc:docMk/>
            <pc:sldMk cId="2749984636" sldId="369"/>
            <ac:spMk id="2" creationId="{BBD66EF4-616A-8C75-5980-85162FDE704F}"/>
          </ac:spMkLst>
        </pc:spChg>
        <pc:spChg chg="mod topLvl">
          <ac:chgData name="Amir Pooyan Afghari" userId="9414e801-e0a1-45e3-8b21-c1d200cd4f56" providerId="ADAL" clId="{593D1F5E-91D9-4DB0-A397-6E6B89CD3939}" dt="2026-04-15T04:58:37.236" v="243" actId="165"/>
          <ac:spMkLst>
            <pc:docMk/>
            <pc:sldMk cId="2749984636" sldId="369"/>
            <ac:spMk id="6" creationId="{D0129EFB-4A19-F271-2FB4-171F869925B4}"/>
          </ac:spMkLst>
        </pc:spChg>
        <pc:spChg chg="mod topLvl">
          <ac:chgData name="Amir Pooyan Afghari" userId="9414e801-e0a1-45e3-8b21-c1d200cd4f56" providerId="ADAL" clId="{593D1F5E-91D9-4DB0-A397-6E6B89CD3939}" dt="2026-04-15T04:58:37.236" v="243" actId="165"/>
          <ac:spMkLst>
            <pc:docMk/>
            <pc:sldMk cId="2749984636" sldId="369"/>
            <ac:spMk id="7" creationId="{9C9773F4-79FB-9B60-9145-E389C14660A2}"/>
          </ac:spMkLst>
        </pc:spChg>
        <pc:spChg chg="mod topLvl">
          <ac:chgData name="Amir Pooyan Afghari" userId="9414e801-e0a1-45e3-8b21-c1d200cd4f56" providerId="ADAL" clId="{593D1F5E-91D9-4DB0-A397-6E6B89CD3939}" dt="2026-04-15T04:58:37.236" v="243" actId="165"/>
          <ac:spMkLst>
            <pc:docMk/>
            <pc:sldMk cId="2749984636" sldId="369"/>
            <ac:spMk id="8" creationId="{90E22360-2C28-F593-A6BD-9444B3A889C0}"/>
          </ac:spMkLst>
        </pc:spChg>
        <pc:spChg chg="mod topLvl">
          <ac:chgData name="Amir Pooyan Afghari" userId="9414e801-e0a1-45e3-8b21-c1d200cd4f56" providerId="ADAL" clId="{593D1F5E-91D9-4DB0-A397-6E6B89CD3939}" dt="2026-04-15T04:58:37.236" v="243" actId="165"/>
          <ac:spMkLst>
            <pc:docMk/>
            <pc:sldMk cId="2749984636" sldId="369"/>
            <ac:spMk id="10" creationId="{B5E6AC78-EC8B-2C65-A840-86851552E326}"/>
          </ac:spMkLst>
        </pc:spChg>
        <pc:spChg chg="mod topLvl">
          <ac:chgData name="Amir Pooyan Afghari" userId="9414e801-e0a1-45e3-8b21-c1d200cd4f56" providerId="ADAL" clId="{593D1F5E-91D9-4DB0-A397-6E6B89CD3939}" dt="2026-04-15T04:58:37.236" v="243" actId="165"/>
          <ac:spMkLst>
            <pc:docMk/>
            <pc:sldMk cId="2749984636" sldId="369"/>
            <ac:spMk id="14" creationId="{55A9AFEB-9095-41C8-53CA-40F635BC81A3}"/>
          </ac:spMkLst>
        </pc:spChg>
        <pc:spChg chg="mod topLvl">
          <ac:chgData name="Amir Pooyan Afghari" userId="9414e801-e0a1-45e3-8b21-c1d200cd4f56" providerId="ADAL" clId="{593D1F5E-91D9-4DB0-A397-6E6B89CD3939}" dt="2026-04-15T04:58:37.236" v="243" actId="165"/>
          <ac:spMkLst>
            <pc:docMk/>
            <pc:sldMk cId="2749984636" sldId="369"/>
            <ac:spMk id="15" creationId="{D73F482B-E88C-8913-EB4F-84816B886FF8}"/>
          </ac:spMkLst>
        </pc:spChg>
        <pc:spChg chg="mod topLvl">
          <ac:chgData name="Amir Pooyan Afghari" userId="9414e801-e0a1-45e3-8b21-c1d200cd4f56" providerId="ADAL" clId="{593D1F5E-91D9-4DB0-A397-6E6B89CD3939}" dt="2026-04-15T04:58:37.236" v="243" actId="165"/>
          <ac:spMkLst>
            <pc:docMk/>
            <pc:sldMk cId="2749984636" sldId="369"/>
            <ac:spMk id="18" creationId="{FCAB2A3E-C4C1-2138-6D69-4BAF2BF715AE}"/>
          </ac:spMkLst>
        </pc:spChg>
        <pc:spChg chg="mod topLvl">
          <ac:chgData name="Amir Pooyan Afghari" userId="9414e801-e0a1-45e3-8b21-c1d200cd4f56" providerId="ADAL" clId="{593D1F5E-91D9-4DB0-A397-6E6B89CD3939}" dt="2026-04-15T04:58:37.236" v="243" actId="165"/>
          <ac:spMkLst>
            <pc:docMk/>
            <pc:sldMk cId="2749984636" sldId="369"/>
            <ac:spMk id="19" creationId="{222F0F20-EA58-B78D-C410-E8B546945AFC}"/>
          </ac:spMkLst>
        </pc:spChg>
        <pc:spChg chg="mod topLvl">
          <ac:chgData name="Amir Pooyan Afghari" userId="9414e801-e0a1-45e3-8b21-c1d200cd4f56" providerId="ADAL" clId="{593D1F5E-91D9-4DB0-A397-6E6B89CD3939}" dt="2026-04-15T04:58:37.236" v="243" actId="165"/>
          <ac:spMkLst>
            <pc:docMk/>
            <pc:sldMk cId="2749984636" sldId="369"/>
            <ac:spMk id="20" creationId="{DFA9A529-FB0E-4AA7-B82B-7A6BB2DB72A1}"/>
          </ac:spMkLst>
        </pc:spChg>
        <pc:spChg chg="mod topLvl">
          <ac:chgData name="Amir Pooyan Afghari" userId="9414e801-e0a1-45e3-8b21-c1d200cd4f56" providerId="ADAL" clId="{593D1F5E-91D9-4DB0-A397-6E6B89CD3939}" dt="2026-04-15T04:58:37.236" v="243" actId="165"/>
          <ac:spMkLst>
            <pc:docMk/>
            <pc:sldMk cId="2749984636" sldId="369"/>
            <ac:spMk id="22" creationId="{7ABB1D86-88CF-7098-0CDF-93DFB2FF7DE8}"/>
          </ac:spMkLst>
        </pc:spChg>
        <pc:graphicFrameChg chg="mod">
          <ac:chgData name="Amir Pooyan Afghari" userId="9414e801-e0a1-45e3-8b21-c1d200cd4f56" providerId="ADAL" clId="{593D1F5E-91D9-4DB0-A397-6E6B89CD3939}" dt="2026-04-15T04:47:07.024" v="226" actId="115"/>
          <ac:graphicFrameMkLst>
            <pc:docMk/>
            <pc:sldMk cId="2749984636" sldId="369"/>
            <ac:graphicFrameMk id="5" creationId="{5312FE8F-FB55-499C-F992-A58CDF69B495}"/>
          </ac:graphicFrameMkLst>
        </pc:graphicFrameChg>
      </pc:sldChg>
      <pc:sldChg chg="modAnim">
        <pc:chgData name="Amir Pooyan Afghari" userId="9414e801-e0a1-45e3-8b21-c1d200cd4f56" providerId="ADAL" clId="{593D1F5E-91D9-4DB0-A397-6E6B89CD3939}" dt="2026-04-15T04:33:55.388" v="119"/>
        <pc:sldMkLst>
          <pc:docMk/>
          <pc:sldMk cId="1272729133" sldId="388"/>
        </pc:sldMkLst>
      </pc:sldChg>
      <pc:sldChg chg="modAnim">
        <pc:chgData name="Amir Pooyan Afghari" userId="9414e801-e0a1-45e3-8b21-c1d200cd4f56" providerId="ADAL" clId="{593D1F5E-91D9-4DB0-A397-6E6B89CD3939}" dt="2026-04-15T04:34:25.059" v="124"/>
        <pc:sldMkLst>
          <pc:docMk/>
          <pc:sldMk cId="3567610612" sldId="390"/>
        </pc:sldMkLst>
      </pc:sldChg>
      <pc:sldChg chg="modAnim">
        <pc:chgData name="Amir Pooyan Afghari" userId="9414e801-e0a1-45e3-8b21-c1d200cd4f56" providerId="ADAL" clId="{593D1F5E-91D9-4DB0-A397-6E6B89CD3939}" dt="2026-04-15T04:34:38.767" v="126"/>
        <pc:sldMkLst>
          <pc:docMk/>
          <pc:sldMk cId="2764100475" sldId="391"/>
        </pc:sldMkLst>
      </pc:sldChg>
      <pc:sldChg chg="modSp mod ord">
        <pc:chgData name="Amir Pooyan Afghari" userId="9414e801-e0a1-45e3-8b21-c1d200cd4f56" providerId="ADAL" clId="{593D1F5E-91D9-4DB0-A397-6E6B89CD3939}" dt="2026-04-15T08:14:53.741" v="335" actId="20577"/>
        <pc:sldMkLst>
          <pc:docMk/>
          <pc:sldMk cId="3126225571" sldId="393"/>
        </pc:sldMkLst>
        <pc:spChg chg="mod">
          <ac:chgData name="Amir Pooyan Afghari" userId="9414e801-e0a1-45e3-8b21-c1d200cd4f56" providerId="ADAL" clId="{593D1F5E-91D9-4DB0-A397-6E6B89CD3939}" dt="2026-04-15T08:14:53.741" v="335" actId="20577"/>
          <ac:spMkLst>
            <pc:docMk/>
            <pc:sldMk cId="3126225571" sldId="393"/>
            <ac:spMk id="2" creationId="{52B0323D-7029-D11B-D0DE-05B6AB587F8E}"/>
          </ac:spMkLst>
        </pc:spChg>
        <pc:spChg chg="mod">
          <ac:chgData name="Amir Pooyan Afghari" userId="9414e801-e0a1-45e3-8b21-c1d200cd4f56" providerId="ADAL" clId="{593D1F5E-91D9-4DB0-A397-6E6B89CD3939}" dt="2026-04-14T20:59:08.116" v="113" actId="20577"/>
          <ac:spMkLst>
            <pc:docMk/>
            <pc:sldMk cId="3126225571" sldId="393"/>
            <ac:spMk id="7" creationId="{3AF672E0-7A84-D7E4-632C-4260D1DAE97E}"/>
          </ac:spMkLst>
        </pc:spChg>
      </pc:sldChg>
      <pc:sldChg chg="modSp mod modNotesTx">
        <pc:chgData name="Amir Pooyan Afghari" userId="9414e801-e0a1-45e3-8b21-c1d200cd4f56" providerId="ADAL" clId="{593D1F5E-91D9-4DB0-A397-6E6B89CD3939}" dt="2026-04-15T08:26:40.480" v="835" actId="6549"/>
        <pc:sldMkLst>
          <pc:docMk/>
          <pc:sldMk cId="1743430813" sldId="394"/>
        </pc:sldMkLst>
        <pc:spChg chg="mod">
          <ac:chgData name="Amir Pooyan Afghari" userId="9414e801-e0a1-45e3-8b21-c1d200cd4f56" providerId="ADAL" clId="{593D1F5E-91D9-4DB0-A397-6E6B89CD3939}" dt="2026-04-15T08:26:40.480" v="835" actId="6549"/>
          <ac:spMkLst>
            <pc:docMk/>
            <pc:sldMk cId="1743430813" sldId="394"/>
            <ac:spMk id="2" creationId="{88604C96-CB47-ED68-A489-71E4A5C813AA}"/>
          </ac:spMkLst>
        </pc:spChg>
        <pc:graphicFrameChg chg="mod modGraphic">
          <ac:chgData name="Amir Pooyan Afghari" userId="9414e801-e0a1-45e3-8b21-c1d200cd4f56" providerId="ADAL" clId="{593D1F5E-91D9-4DB0-A397-6E6B89CD3939}" dt="2026-04-15T07:08:27.517" v="327" actId="20577"/>
          <ac:graphicFrameMkLst>
            <pc:docMk/>
            <pc:sldMk cId="1743430813" sldId="394"/>
            <ac:graphicFrameMk id="6" creationId="{3D8ACAB4-4419-B164-A0A8-DA221DFDA46A}"/>
          </ac:graphicFrameMkLst>
        </pc:graphicFrameChg>
      </pc:sldChg>
      <pc:sldChg chg="addSp delSp modSp mod">
        <pc:chgData name="Amir Pooyan Afghari" userId="9414e801-e0a1-45e3-8b21-c1d200cd4f56" providerId="ADAL" clId="{593D1F5E-91D9-4DB0-A397-6E6B89CD3939}" dt="2026-04-15T05:01:13.755" v="273" actId="207"/>
        <pc:sldMkLst>
          <pc:docMk/>
          <pc:sldMk cId="1349091235" sldId="395"/>
        </pc:sldMkLst>
        <pc:spChg chg="mod">
          <ac:chgData name="Amir Pooyan Afghari" userId="9414e801-e0a1-45e3-8b21-c1d200cd4f56" providerId="ADAL" clId="{593D1F5E-91D9-4DB0-A397-6E6B89CD3939}" dt="2026-04-15T05:00:28.619" v="255" actId="207"/>
          <ac:spMkLst>
            <pc:docMk/>
            <pc:sldMk cId="1349091235" sldId="395"/>
            <ac:spMk id="5" creationId="{9A12FF29-DFF7-5918-8D47-6AAE9BDD77CD}"/>
          </ac:spMkLst>
        </pc:spChg>
        <pc:spChg chg="add del mod">
          <ac:chgData name="Amir Pooyan Afghari" userId="9414e801-e0a1-45e3-8b21-c1d200cd4f56" providerId="ADAL" clId="{593D1F5E-91D9-4DB0-A397-6E6B89CD3939}" dt="2026-04-15T05:01:13.755" v="273" actId="207"/>
          <ac:spMkLst>
            <pc:docMk/>
            <pc:sldMk cId="1349091235" sldId="395"/>
            <ac:spMk id="6" creationId="{E6B0A2CE-3D5E-CAC4-7B5A-7E81E196DF58}"/>
          </ac:spMkLst>
        </pc:spChg>
        <pc:spChg chg="mod">
          <ac:chgData name="Amir Pooyan Afghari" userId="9414e801-e0a1-45e3-8b21-c1d200cd4f56" providerId="ADAL" clId="{593D1F5E-91D9-4DB0-A397-6E6B89CD3939}" dt="2026-04-15T05:00:29.635" v="257" actId="207"/>
          <ac:spMkLst>
            <pc:docMk/>
            <pc:sldMk cId="1349091235" sldId="395"/>
            <ac:spMk id="7" creationId="{7038AD1B-2644-2C49-1104-6324AFDF39A6}"/>
          </ac:spMkLst>
        </pc:spChg>
        <pc:spChg chg="mod">
          <ac:chgData name="Amir Pooyan Afghari" userId="9414e801-e0a1-45e3-8b21-c1d200cd4f56" providerId="ADAL" clId="{593D1F5E-91D9-4DB0-A397-6E6B89CD3939}" dt="2026-04-15T05:00:37.859" v="263" actId="207"/>
          <ac:spMkLst>
            <pc:docMk/>
            <pc:sldMk cId="1349091235" sldId="395"/>
            <ac:spMk id="8" creationId="{70413D5B-58B2-9506-6956-D3D095071637}"/>
          </ac:spMkLst>
        </pc:spChg>
        <pc:spChg chg="mod">
          <ac:chgData name="Amir Pooyan Afghari" userId="9414e801-e0a1-45e3-8b21-c1d200cd4f56" providerId="ADAL" clId="{593D1F5E-91D9-4DB0-A397-6E6B89CD3939}" dt="2026-04-15T04:35:57.947" v="137" actId="1076"/>
          <ac:spMkLst>
            <pc:docMk/>
            <pc:sldMk cId="1349091235" sldId="395"/>
            <ac:spMk id="9" creationId="{17E2F588-EE83-531D-09AB-86686BEA155F}"/>
          </ac:spMkLst>
        </pc:spChg>
        <pc:spChg chg="mod">
          <ac:chgData name="Amir Pooyan Afghari" userId="9414e801-e0a1-45e3-8b21-c1d200cd4f56" providerId="ADAL" clId="{593D1F5E-91D9-4DB0-A397-6E6B89CD3939}" dt="2026-04-15T04:35:57.947" v="137" actId="1076"/>
          <ac:spMkLst>
            <pc:docMk/>
            <pc:sldMk cId="1349091235" sldId="395"/>
            <ac:spMk id="10" creationId="{4ADC0CFF-6AED-6ADB-D414-3F597B31328E}"/>
          </ac:spMkLst>
        </pc:spChg>
        <pc:spChg chg="mod">
          <ac:chgData name="Amir Pooyan Afghari" userId="9414e801-e0a1-45e3-8b21-c1d200cd4f56" providerId="ADAL" clId="{593D1F5E-91D9-4DB0-A397-6E6B89CD3939}" dt="2026-04-15T05:01:08.904" v="272" actId="207"/>
          <ac:spMkLst>
            <pc:docMk/>
            <pc:sldMk cId="1349091235" sldId="395"/>
            <ac:spMk id="11" creationId="{1EABB59F-3D4E-671D-6094-E1869A1844FD}"/>
          </ac:spMkLst>
        </pc:spChg>
        <pc:spChg chg="mod">
          <ac:chgData name="Amir Pooyan Afghari" userId="9414e801-e0a1-45e3-8b21-c1d200cd4f56" providerId="ADAL" clId="{593D1F5E-91D9-4DB0-A397-6E6B89CD3939}" dt="2026-04-15T04:36:29.790" v="179" actId="6549"/>
          <ac:spMkLst>
            <pc:docMk/>
            <pc:sldMk cId="1349091235" sldId="395"/>
            <ac:spMk id="14" creationId="{9F74AA56-4D84-C58B-6E70-6CE214D8F854}"/>
          </ac:spMkLst>
        </pc:spChg>
      </pc:sldChg>
      <pc:sldChg chg="addSp delSp modSp add mod">
        <pc:chgData name="Amir Pooyan Afghari" userId="9414e801-e0a1-45e3-8b21-c1d200cd4f56" providerId="ADAL" clId="{593D1F5E-91D9-4DB0-A397-6E6B89CD3939}" dt="2026-04-15T08:26:06.570" v="833" actId="478"/>
        <pc:sldMkLst>
          <pc:docMk/>
          <pc:sldMk cId="1655757558" sldId="396"/>
        </pc:sldMkLst>
        <pc:spChg chg="add mod">
          <ac:chgData name="Amir Pooyan Afghari" userId="9414e801-e0a1-45e3-8b21-c1d200cd4f56" providerId="ADAL" clId="{593D1F5E-91D9-4DB0-A397-6E6B89CD3939}" dt="2026-04-15T08:26:06.230" v="832"/>
          <ac:spMkLst>
            <pc:docMk/>
            <pc:sldMk cId="1655757558" sldId="396"/>
            <ac:spMk id="3" creationId="{C35F87B0-A6A4-BADB-09B1-74C4F5A5319F}"/>
          </ac:spMkLst>
        </pc:spChg>
        <pc:spChg chg="add del mod">
          <ac:chgData name="Amir Pooyan Afghari" userId="9414e801-e0a1-45e3-8b21-c1d200cd4f56" providerId="ADAL" clId="{593D1F5E-91D9-4DB0-A397-6E6B89CD3939}" dt="2026-04-15T08:26:06.570" v="833" actId="478"/>
          <ac:spMkLst>
            <pc:docMk/>
            <pc:sldMk cId="1655757558" sldId="396"/>
            <ac:spMk id="4" creationId="{F582ADE5-C1FB-8CF0-A159-CD1EB6B18421}"/>
          </ac:spMkLst>
        </pc:spChg>
        <pc:spChg chg="mod">
          <ac:chgData name="Amir Pooyan Afghari" userId="9414e801-e0a1-45e3-8b21-c1d200cd4f56" providerId="ADAL" clId="{593D1F5E-91D9-4DB0-A397-6E6B89CD3939}" dt="2026-04-15T08:25:15.777" v="827" actId="255"/>
          <ac:spMkLst>
            <pc:docMk/>
            <pc:sldMk cId="1655757558" sldId="396"/>
            <ac:spMk id="6" creationId="{16CA60B1-5914-3BF1-C1D4-506AA70FD5AC}"/>
          </ac:spMkLst>
        </pc:spChg>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svg"/><Relationship Id="rId1" Type="http://schemas.openxmlformats.org/officeDocument/2006/relationships/image" Target="../media/image38.png"/><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diagrams/_rels/drawing1.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svg"/><Relationship Id="rId1" Type="http://schemas.openxmlformats.org/officeDocument/2006/relationships/image" Target="../media/image38.png"/><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80AB075-FECA-47A4-95F4-2DE815B30E8D}"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1094B041-102D-4EF8-AE82-AC80D6672457}">
      <dgm:prSet phldrT="[Text]"/>
      <dgm:spPr/>
      <dgm:t>
        <a:bodyPr/>
        <a:lstStyle/>
        <a:p>
          <a:r>
            <a:rPr lang="en-US" b="0" dirty="0"/>
            <a:t>Dashcam Evidence</a:t>
          </a:r>
        </a:p>
      </dgm:t>
    </dgm:pt>
    <dgm:pt modelId="{54DEB24F-68CE-416C-AA67-39597B9921E5}" type="parTrans" cxnId="{C64D0A69-D9A6-4F2D-8179-E32FCDE35828}">
      <dgm:prSet/>
      <dgm:spPr/>
      <dgm:t>
        <a:bodyPr/>
        <a:lstStyle/>
        <a:p>
          <a:endParaRPr lang="en-US"/>
        </a:p>
      </dgm:t>
    </dgm:pt>
    <dgm:pt modelId="{1630DA46-BBD3-45F0-8D1F-10D89F0F4D7A}" type="sibTrans" cxnId="{C64D0A69-D9A6-4F2D-8179-E32FCDE35828}">
      <dgm:prSet/>
      <dgm:spPr/>
      <dgm:t>
        <a:bodyPr/>
        <a:lstStyle/>
        <a:p>
          <a:endParaRPr lang="en-US"/>
        </a:p>
      </dgm:t>
    </dgm:pt>
    <dgm:pt modelId="{E46A034A-9E75-41E8-8FF1-8058C4C9ADC1}">
      <dgm:prSet phldrT="[Text]" phldr="0"/>
      <dgm:spPr/>
      <dgm:t>
        <a:bodyPr/>
        <a:lstStyle/>
        <a:p>
          <a:r>
            <a:rPr lang="en-US" dirty="0"/>
            <a:t>Coded Road Attributes</a:t>
          </a:r>
        </a:p>
      </dgm:t>
    </dgm:pt>
    <dgm:pt modelId="{2549F9FE-E200-4294-92BA-8BFF4041D125}" type="parTrans" cxnId="{59B8904A-219F-4836-BF92-832BF12C1A31}">
      <dgm:prSet/>
      <dgm:spPr/>
      <dgm:t>
        <a:bodyPr/>
        <a:lstStyle/>
        <a:p>
          <a:endParaRPr lang="en-US"/>
        </a:p>
      </dgm:t>
    </dgm:pt>
    <dgm:pt modelId="{1D67759B-15E9-4CD6-B635-298CCB61D925}" type="sibTrans" cxnId="{59B8904A-219F-4836-BF92-832BF12C1A31}">
      <dgm:prSet/>
      <dgm:spPr/>
      <dgm:t>
        <a:bodyPr/>
        <a:lstStyle/>
        <a:p>
          <a:endParaRPr lang="en-US"/>
        </a:p>
      </dgm:t>
    </dgm:pt>
    <dgm:pt modelId="{37AD5221-FCEF-42AB-82CC-8FBB7019DB09}">
      <dgm:prSet phldrT="[Text]" phldr="0"/>
      <dgm:spPr/>
      <dgm:t>
        <a:bodyPr/>
        <a:lstStyle/>
        <a:p>
          <a:r>
            <a:rPr lang="en-US" dirty="0"/>
            <a:t>Star Rating</a:t>
          </a:r>
        </a:p>
      </dgm:t>
    </dgm:pt>
    <dgm:pt modelId="{87F51F62-B08A-44C2-9433-A453B6490BBC}" type="parTrans" cxnId="{0A7B596B-40C1-4EAB-AF9F-594D973B8B01}">
      <dgm:prSet/>
      <dgm:spPr/>
      <dgm:t>
        <a:bodyPr/>
        <a:lstStyle/>
        <a:p>
          <a:endParaRPr lang="en-US"/>
        </a:p>
      </dgm:t>
    </dgm:pt>
    <dgm:pt modelId="{6FE1198A-2D60-4AA4-8AFE-07F985FDB7C6}" type="sibTrans" cxnId="{0A7B596B-40C1-4EAB-AF9F-594D973B8B01}">
      <dgm:prSet/>
      <dgm:spPr/>
      <dgm:t>
        <a:bodyPr/>
        <a:lstStyle/>
        <a:p>
          <a:endParaRPr lang="en-US"/>
        </a:p>
      </dgm:t>
    </dgm:pt>
    <dgm:pt modelId="{42E830AB-196E-42D2-8B4B-C287021AB52E}">
      <dgm:prSet/>
      <dgm:spPr/>
      <dgm:t>
        <a:bodyPr/>
        <a:lstStyle/>
        <a:p>
          <a:r>
            <a:rPr lang="en-US" dirty="0"/>
            <a:t>Review and Intervention</a:t>
          </a:r>
        </a:p>
      </dgm:t>
    </dgm:pt>
    <dgm:pt modelId="{65C61648-309F-4B6C-AECA-DA0248B67235}" type="parTrans" cxnId="{79F59E0C-964F-46C1-AE14-E1091B1FF748}">
      <dgm:prSet/>
      <dgm:spPr/>
      <dgm:t>
        <a:bodyPr/>
        <a:lstStyle/>
        <a:p>
          <a:endParaRPr lang="en-US"/>
        </a:p>
      </dgm:t>
    </dgm:pt>
    <dgm:pt modelId="{2ADE92A2-C856-4F0E-8EB7-341F8BBCE9C8}" type="sibTrans" cxnId="{79F59E0C-964F-46C1-AE14-E1091B1FF748}">
      <dgm:prSet/>
      <dgm:spPr/>
      <dgm:t>
        <a:bodyPr/>
        <a:lstStyle/>
        <a:p>
          <a:endParaRPr lang="en-US"/>
        </a:p>
      </dgm:t>
    </dgm:pt>
    <dgm:pt modelId="{8F406FA1-35BE-46A2-9023-157A377CCF6F}" type="pres">
      <dgm:prSet presAssocID="{280AB075-FECA-47A4-95F4-2DE815B30E8D}" presName="root" presStyleCnt="0">
        <dgm:presLayoutVars>
          <dgm:dir/>
          <dgm:resizeHandles val="exact"/>
        </dgm:presLayoutVars>
      </dgm:prSet>
      <dgm:spPr/>
    </dgm:pt>
    <dgm:pt modelId="{FCB9A454-120F-41FC-A80E-9B712C88546B}" type="pres">
      <dgm:prSet presAssocID="{1094B041-102D-4EF8-AE82-AC80D6672457}" presName="compNode" presStyleCnt="0"/>
      <dgm:spPr/>
    </dgm:pt>
    <dgm:pt modelId="{79499489-0A72-4337-801F-0D4881F2B37F}" type="pres">
      <dgm:prSet presAssocID="{1094B041-102D-4EF8-AE82-AC80D6672457}" presName="bgRect" presStyleLbl="bgShp" presStyleIdx="0" presStyleCnt="4"/>
      <dgm:spPr/>
    </dgm:pt>
    <dgm:pt modelId="{51BA737B-E520-4905-A5CB-C6DAF3D4D656}" type="pres">
      <dgm:prSet presAssocID="{1094B041-102D-4EF8-AE82-AC80D6672457}"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Video camera"/>
        </a:ext>
      </dgm:extLst>
    </dgm:pt>
    <dgm:pt modelId="{C444E5F1-C970-4B21-B901-743DF52B9DEA}" type="pres">
      <dgm:prSet presAssocID="{1094B041-102D-4EF8-AE82-AC80D6672457}" presName="spaceRect" presStyleCnt="0"/>
      <dgm:spPr/>
    </dgm:pt>
    <dgm:pt modelId="{CDE9C3AE-923D-484B-AAAE-159209801306}" type="pres">
      <dgm:prSet presAssocID="{1094B041-102D-4EF8-AE82-AC80D6672457}" presName="parTx" presStyleLbl="revTx" presStyleIdx="0" presStyleCnt="4">
        <dgm:presLayoutVars>
          <dgm:chMax val="0"/>
          <dgm:chPref val="0"/>
        </dgm:presLayoutVars>
      </dgm:prSet>
      <dgm:spPr/>
    </dgm:pt>
    <dgm:pt modelId="{1F5FB25A-A1C7-4BE1-B034-CA6A416B1FC5}" type="pres">
      <dgm:prSet presAssocID="{1630DA46-BBD3-45F0-8D1F-10D89F0F4D7A}" presName="sibTrans" presStyleCnt="0"/>
      <dgm:spPr/>
    </dgm:pt>
    <dgm:pt modelId="{D33E0AE5-31A1-494A-B62D-83CC644D0719}" type="pres">
      <dgm:prSet presAssocID="{E46A034A-9E75-41E8-8FF1-8058C4C9ADC1}" presName="compNode" presStyleCnt="0"/>
      <dgm:spPr/>
    </dgm:pt>
    <dgm:pt modelId="{D967335F-169B-47AA-8A82-F9A70C287BDA}" type="pres">
      <dgm:prSet presAssocID="{E46A034A-9E75-41E8-8FF1-8058C4C9ADC1}" presName="bgRect" presStyleLbl="bgShp" presStyleIdx="1" presStyleCnt="4"/>
      <dgm:spPr/>
    </dgm:pt>
    <dgm:pt modelId="{2C866EDF-96CF-4A88-B65B-AE7E071C1703}" type="pres">
      <dgm:prSet presAssocID="{E46A034A-9E75-41E8-8FF1-8058C4C9ADC1}"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ckmark"/>
        </a:ext>
      </dgm:extLst>
    </dgm:pt>
    <dgm:pt modelId="{C7DB6714-AB97-44CC-8BFF-0F300BA5EE38}" type="pres">
      <dgm:prSet presAssocID="{E46A034A-9E75-41E8-8FF1-8058C4C9ADC1}" presName="spaceRect" presStyleCnt="0"/>
      <dgm:spPr/>
    </dgm:pt>
    <dgm:pt modelId="{516E6E7B-09C4-4D23-A874-C2D837F110DE}" type="pres">
      <dgm:prSet presAssocID="{E46A034A-9E75-41E8-8FF1-8058C4C9ADC1}" presName="parTx" presStyleLbl="revTx" presStyleIdx="1" presStyleCnt="4">
        <dgm:presLayoutVars>
          <dgm:chMax val="0"/>
          <dgm:chPref val="0"/>
        </dgm:presLayoutVars>
      </dgm:prSet>
      <dgm:spPr/>
    </dgm:pt>
    <dgm:pt modelId="{81170685-D553-42A7-924B-DB7523F9F9B7}" type="pres">
      <dgm:prSet presAssocID="{1D67759B-15E9-4CD6-B635-298CCB61D925}" presName="sibTrans" presStyleCnt="0"/>
      <dgm:spPr/>
    </dgm:pt>
    <dgm:pt modelId="{FED3645F-E4F3-40D7-86E7-B60F4E512EAC}" type="pres">
      <dgm:prSet presAssocID="{37AD5221-FCEF-42AB-82CC-8FBB7019DB09}" presName="compNode" presStyleCnt="0"/>
      <dgm:spPr/>
    </dgm:pt>
    <dgm:pt modelId="{61658405-2DC6-4A1D-9EDF-374AC5E0AFCE}" type="pres">
      <dgm:prSet presAssocID="{37AD5221-FCEF-42AB-82CC-8FBB7019DB09}" presName="bgRect" presStyleLbl="bgShp" presStyleIdx="2" presStyleCnt="4"/>
      <dgm:spPr/>
    </dgm:pt>
    <dgm:pt modelId="{89601EA5-E0DF-44F2-B1D6-22D1DFEFEE48}" type="pres">
      <dgm:prSet presAssocID="{37AD5221-FCEF-42AB-82CC-8FBB7019DB09}"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Warning"/>
        </a:ext>
      </dgm:extLst>
    </dgm:pt>
    <dgm:pt modelId="{2068CA36-8D92-4F19-B57F-7306BBB47762}" type="pres">
      <dgm:prSet presAssocID="{37AD5221-FCEF-42AB-82CC-8FBB7019DB09}" presName="spaceRect" presStyleCnt="0"/>
      <dgm:spPr/>
    </dgm:pt>
    <dgm:pt modelId="{48161E5E-C1EC-47B0-B512-4FE921E4EBEA}" type="pres">
      <dgm:prSet presAssocID="{37AD5221-FCEF-42AB-82CC-8FBB7019DB09}" presName="parTx" presStyleLbl="revTx" presStyleIdx="2" presStyleCnt="4">
        <dgm:presLayoutVars>
          <dgm:chMax val="0"/>
          <dgm:chPref val="0"/>
        </dgm:presLayoutVars>
      </dgm:prSet>
      <dgm:spPr/>
    </dgm:pt>
    <dgm:pt modelId="{477B2A50-4F06-41D5-A5F7-F0CC2DB0AAAD}" type="pres">
      <dgm:prSet presAssocID="{6FE1198A-2D60-4AA4-8AFE-07F985FDB7C6}" presName="sibTrans" presStyleCnt="0"/>
      <dgm:spPr/>
    </dgm:pt>
    <dgm:pt modelId="{37F1ADD7-C749-41B5-BF29-081B969A4C3E}" type="pres">
      <dgm:prSet presAssocID="{42E830AB-196E-42D2-8B4B-C287021AB52E}" presName="compNode" presStyleCnt="0"/>
      <dgm:spPr/>
    </dgm:pt>
    <dgm:pt modelId="{AAE997B5-A5E5-4227-8EF7-85A5D7810959}" type="pres">
      <dgm:prSet presAssocID="{42E830AB-196E-42D2-8B4B-C287021AB52E}" presName="bgRect" presStyleLbl="bgShp" presStyleIdx="3" presStyleCnt="4"/>
      <dgm:spPr/>
    </dgm:pt>
    <dgm:pt modelId="{E0C45464-C182-4AF3-BB4E-B27A1151EFBC}" type="pres">
      <dgm:prSet presAssocID="{42E830AB-196E-42D2-8B4B-C287021AB52E}"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heck List"/>
        </a:ext>
      </dgm:extLst>
    </dgm:pt>
    <dgm:pt modelId="{9964FF0F-BC41-4E1D-A86D-39D0962DE7DD}" type="pres">
      <dgm:prSet presAssocID="{42E830AB-196E-42D2-8B4B-C287021AB52E}" presName="spaceRect" presStyleCnt="0"/>
      <dgm:spPr/>
    </dgm:pt>
    <dgm:pt modelId="{B6DC10D8-A09D-4F5E-A6D2-08ACAD6417BD}" type="pres">
      <dgm:prSet presAssocID="{42E830AB-196E-42D2-8B4B-C287021AB52E}" presName="parTx" presStyleLbl="revTx" presStyleIdx="3" presStyleCnt="4">
        <dgm:presLayoutVars>
          <dgm:chMax val="0"/>
          <dgm:chPref val="0"/>
        </dgm:presLayoutVars>
      </dgm:prSet>
      <dgm:spPr/>
    </dgm:pt>
  </dgm:ptLst>
  <dgm:cxnLst>
    <dgm:cxn modelId="{79F59E0C-964F-46C1-AE14-E1091B1FF748}" srcId="{280AB075-FECA-47A4-95F4-2DE815B30E8D}" destId="{42E830AB-196E-42D2-8B4B-C287021AB52E}" srcOrd="3" destOrd="0" parTransId="{65C61648-309F-4B6C-AECA-DA0248B67235}" sibTransId="{2ADE92A2-C856-4F0E-8EB7-341F8BBCE9C8}"/>
    <dgm:cxn modelId="{08BC6618-ED41-40BD-AB92-C2AEF54FCCD5}" type="presOf" srcId="{42E830AB-196E-42D2-8B4B-C287021AB52E}" destId="{B6DC10D8-A09D-4F5E-A6D2-08ACAD6417BD}" srcOrd="0" destOrd="0" presId="urn:microsoft.com/office/officeart/2018/2/layout/IconVerticalSolidList"/>
    <dgm:cxn modelId="{7EC61433-5BFC-4F0B-8AEA-DA9F5C7AB0C6}" type="presOf" srcId="{E46A034A-9E75-41E8-8FF1-8058C4C9ADC1}" destId="{516E6E7B-09C4-4D23-A874-C2D837F110DE}" srcOrd="0" destOrd="0" presId="urn:microsoft.com/office/officeart/2018/2/layout/IconVerticalSolidList"/>
    <dgm:cxn modelId="{C64D0A69-D9A6-4F2D-8179-E32FCDE35828}" srcId="{280AB075-FECA-47A4-95F4-2DE815B30E8D}" destId="{1094B041-102D-4EF8-AE82-AC80D6672457}" srcOrd="0" destOrd="0" parTransId="{54DEB24F-68CE-416C-AA67-39597B9921E5}" sibTransId="{1630DA46-BBD3-45F0-8D1F-10D89F0F4D7A}"/>
    <dgm:cxn modelId="{59B8904A-219F-4836-BF92-832BF12C1A31}" srcId="{280AB075-FECA-47A4-95F4-2DE815B30E8D}" destId="{E46A034A-9E75-41E8-8FF1-8058C4C9ADC1}" srcOrd="1" destOrd="0" parTransId="{2549F9FE-E200-4294-92BA-8BFF4041D125}" sibTransId="{1D67759B-15E9-4CD6-B635-298CCB61D925}"/>
    <dgm:cxn modelId="{0A7B596B-40C1-4EAB-AF9F-594D973B8B01}" srcId="{280AB075-FECA-47A4-95F4-2DE815B30E8D}" destId="{37AD5221-FCEF-42AB-82CC-8FBB7019DB09}" srcOrd="2" destOrd="0" parTransId="{87F51F62-B08A-44C2-9433-A453B6490BBC}" sibTransId="{6FE1198A-2D60-4AA4-8AFE-07F985FDB7C6}"/>
    <dgm:cxn modelId="{477B5FBD-D480-42B7-9310-1126669F176A}" type="presOf" srcId="{280AB075-FECA-47A4-95F4-2DE815B30E8D}" destId="{8F406FA1-35BE-46A2-9023-157A377CCF6F}" srcOrd="0" destOrd="0" presId="urn:microsoft.com/office/officeart/2018/2/layout/IconVerticalSolidList"/>
    <dgm:cxn modelId="{B71509C7-9C59-4D8C-8B96-049C29368F23}" type="presOf" srcId="{37AD5221-FCEF-42AB-82CC-8FBB7019DB09}" destId="{48161E5E-C1EC-47B0-B512-4FE921E4EBEA}" srcOrd="0" destOrd="0" presId="urn:microsoft.com/office/officeart/2018/2/layout/IconVerticalSolidList"/>
    <dgm:cxn modelId="{A37D1FFF-49A4-4C29-B06A-9900C8016F4A}" type="presOf" srcId="{1094B041-102D-4EF8-AE82-AC80D6672457}" destId="{CDE9C3AE-923D-484B-AAAE-159209801306}" srcOrd="0" destOrd="0" presId="urn:microsoft.com/office/officeart/2018/2/layout/IconVerticalSolidList"/>
    <dgm:cxn modelId="{8E7E90E9-A3E0-43E7-9C7D-C272423F8799}" type="presParOf" srcId="{8F406FA1-35BE-46A2-9023-157A377CCF6F}" destId="{FCB9A454-120F-41FC-A80E-9B712C88546B}" srcOrd="0" destOrd="0" presId="urn:microsoft.com/office/officeart/2018/2/layout/IconVerticalSolidList"/>
    <dgm:cxn modelId="{DB425C08-C7ED-4B61-88C5-2C0736723CFF}" type="presParOf" srcId="{FCB9A454-120F-41FC-A80E-9B712C88546B}" destId="{79499489-0A72-4337-801F-0D4881F2B37F}" srcOrd="0" destOrd="0" presId="urn:microsoft.com/office/officeart/2018/2/layout/IconVerticalSolidList"/>
    <dgm:cxn modelId="{877E995C-027E-4443-91ED-DEE3ECD2C74C}" type="presParOf" srcId="{FCB9A454-120F-41FC-A80E-9B712C88546B}" destId="{51BA737B-E520-4905-A5CB-C6DAF3D4D656}" srcOrd="1" destOrd="0" presId="urn:microsoft.com/office/officeart/2018/2/layout/IconVerticalSolidList"/>
    <dgm:cxn modelId="{E5C71F6C-BA58-4FF5-8AB7-DCD033C25486}" type="presParOf" srcId="{FCB9A454-120F-41FC-A80E-9B712C88546B}" destId="{C444E5F1-C970-4B21-B901-743DF52B9DEA}" srcOrd="2" destOrd="0" presId="urn:microsoft.com/office/officeart/2018/2/layout/IconVerticalSolidList"/>
    <dgm:cxn modelId="{3D4A62BE-52BB-4012-BCBF-60A841F427F3}" type="presParOf" srcId="{FCB9A454-120F-41FC-A80E-9B712C88546B}" destId="{CDE9C3AE-923D-484B-AAAE-159209801306}" srcOrd="3" destOrd="0" presId="urn:microsoft.com/office/officeart/2018/2/layout/IconVerticalSolidList"/>
    <dgm:cxn modelId="{0D660D02-24FF-4BFA-826F-5EC27E315955}" type="presParOf" srcId="{8F406FA1-35BE-46A2-9023-157A377CCF6F}" destId="{1F5FB25A-A1C7-4BE1-B034-CA6A416B1FC5}" srcOrd="1" destOrd="0" presId="urn:microsoft.com/office/officeart/2018/2/layout/IconVerticalSolidList"/>
    <dgm:cxn modelId="{E376B163-3F58-4CA0-A277-F7700787B9DF}" type="presParOf" srcId="{8F406FA1-35BE-46A2-9023-157A377CCF6F}" destId="{D33E0AE5-31A1-494A-B62D-83CC644D0719}" srcOrd="2" destOrd="0" presId="urn:microsoft.com/office/officeart/2018/2/layout/IconVerticalSolidList"/>
    <dgm:cxn modelId="{2DE8BE2F-1297-46FF-9D34-48A7A159A640}" type="presParOf" srcId="{D33E0AE5-31A1-494A-B62D-83CC644D0719}" destId="{D967335F-169B-47AA-8A82-F9A70C287BDA}" srcOrd="0" destOrd="0" presId="urn:microsoft.com/office/officeart/2018/2/layout/IconVerticalSolidList"/>
    <dgm:cxn modelId="{96D42E25-879B-4989-B123-5CF05ACFFA9E}" type="presParOf" srcId="{D33E0AE5-31A1-494A-B62D-83CC644D0719}" destId="{2C866EDF-96CF-4A88-B65B-AE7E071C1703}" srcOrd="1" destOrd="0" presId="urn:microsoft.com/office/officeart/2018/2/layout/IconVerticalSolidList"/>
    <dgm:cxn modelId="{D2494F20-866F-4C41-A4C2-A146E4BA3E75}" type="presParOf" srcId="{D33E0AE5-31A1-494A-B62D-83CC644D0719}" destId="{C7DB6714-AB97-44CC-8BFF-0F300BA5EE38}" srcOrd="2" destOrd="0" presId="urn:microsoft.com/office/officeart/2018/2/layout/IconVerticalSolidList"/>
    <dgm:cxn modelId="{DAA5BAFA-0136-496A-BEA3-024474B1DCE2}" type="presParOf" srcId="{D33E0AE5-31A1-494A-B62D-83CC644D0719}" destId="{516E6E7B-09C4-4D23-A874-C2D837F110DE}" srcOrd="3" destOrd="0" presId="urn:microsoft.com/office/officeart/2018/2/layout/IconVerticalSolidList"/>
    <dgm:cxn modelId="{C72F4C5B-819B-4151-B4B6-3726F32DE895}" type="presParOf" srcId="{8F406FA1-35BE-46A2-9023-157A377CCF6F}" destId="{81170685-D553-42A7-924B-DB7523F9F9B7}" srcOrd="3" destOrd="0" presId="urn:microsoft.com/office/officeart/2018/2/layout/IconVerticalSolidList"/>
    <dgm:cxn modelId="{C3CC3BC5-ED28-4C45-A65F-D7801B54A8AF}" type="presParOf" srcId="{8F406FA1-35BE-46A2-9023-157A377CCF6F}" destId="{FED3645F-E4F3-40D7-86E7-B60F4E512EAC}" srcOrd="4" destOrd="0" presId="urn:microsoft.com/office/officeart/2018/2/layout/IconVerticalSolidList"/>
    <dgm:cxn modelId="{A29B4D88-6AD3-4946-A3F9-8E73F0044322}" type="presParOf" srcId="{FED3645F-E4F3-40D7-86E7-B60F4E512EAC}" destId="{61658405-2DC6-4A1D-9EDF-374AC5E0AFCE}" srcOrd="0" destOrd="0" presId="urn:microsoft.com/office/officeart/2018/2/layout/IconVerticalSolidList"/>
    <dgm:cxn modelId="{E359500A-9187-4094-AEB1-9FC603F6C48B}" type="presParOf" srcId="{FED3645F-E4F3-40D7-86E7-B60F4E512EAC}" destId="{89601EA5-E0DF-44F2-B1D6-22D1DFEFEE48}" srcOrd="1" destOrd="0" presId="urn:microsoft.com/office/officeart/2018/2/layout/IconVerticalSolidList"/>
    <dgm:cxn modelId="{01E217C5-0EB8-44F3-8E10-DEB43A91960A}" type="presParOf" srcId="{FED3645F-E4F3-40D7-86E7-B60F4E512EAC}" destId="{2068CA36-8D92-4F19-B57F-7306BBB47762}" srcOrd="2" destOrd="0" presId="urn:microsoft.com/office/officeart/2018/2/layout/IconVerticalSolidList"/>
    <dgm:cxn modelId="{7F328C7D-8CA3-47AC-A07C-A0900EFCF75B}" type="presParOf" srcId="{FED3645F-E4F3-40D7-86E7-B60F4E512EAC}" destId="{48161E5E-C1EC-47B0-B512-4FE921E4EBEA}" srcOrd="3" destOrd="0" presId="urn:microsoft.com/office/officeart/2018/2/layout/IconVerticalSolidList"/>
    <dgm:cxn modelId="{E51ADCF0-9EED-41BF-8955-2DFD906C6AD2}" type="presParOf" srcId="{8F406FA1-35BE-46A2-9023-157A377CCF6F}" destId="{477B2A50-4F06-41D5-A5F7-F0CC2DB0AAAD}" srcOrd="5" destOrd="0" presId="urn:microsoft.com/office/officeart/2018/2/layout/IconVerticalSolidList"/>
    <dgm:cxn modelId="{8D18615C-964C-485B-9777-65F3E55C26FA}" type="presParOf" srcId="{8F406FA1-35BE-46A2-9023-157A377CCF6F}" destId="{37F1ADD7-C749-41B5-BF29-081B969A4C3E}" srcOrd="6" destOrd="0" presId="urn:microsoft.com/office/officeart/2018/2/layout/IconVerticalSolidList"/>
    <dgm:cxn modelId="{A8DD05D5-2ABE-4909-B35C-D0FE5CF11B58}" type="presParOf" srcId="{37F1ADD7-C749-41B5-BF29-081B969A4C3E}" destId="{AAE997B5-A5E5-4227-8EF7-85A5D7810959}" srcOrd="0" destOrd="0" presId="urn:microsoft.com/office/officeart/2018/2/layout/IconVerticalSolidList"/>
    <dgm:cxn modelId="{DA565247-D1AD-42C7-AF3E-3CD9ABF7D73A}" type="presParOf" srcId="{37F1ADD7-C749-41B5-BF29-081B969A4C3E}" destId="{E0C45464-C182-4AF3-BB4E-B27A1151EFBC}" srcOrd="1" destOrd="0" presId="urn:microsoft.com/office/officeart/2018/2/layout/IconVerticalSolidList"/>
    <dgm:cxn modelId="{1EBA18E0-30A5-4AA2-AABA-A4F8036045A9}" type="presParOf" srcId="{37F1ADD7-C749-41B5-BF29-081B969A4C3E}" destId="{9964FF0F-BC41-4E1D-A86D-39D0962DE7DD}" srcOrd="2" destOrd="0" presId="urn:microsoft.com/office/officeart/2018/2/layout/IconVerticalSolidList"/>
    <dgm:cxn modelId="{C3F71BB4-1DC4-4BAF-8D92-0507A3A7590B}" type="presParOf" srcId="{37F1ADD7-C749-41B5-BF29-081B969A4C3E}" destId="{B6DC10D8-A09D-4F5E-A6D2-08ACAD6417B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A39AE6F-928C-45A8-B85A-989653AB7107}" type="doc">
      <dgm:prSet loTypeId="urn:microsoft.com/office/officeart/2008/layout/AlternatingHexagons" loCatId="list" qsTypeId="urn:microsoft.com/office/officeart/2005/8/quickstyle/simple4" qsCatId="simple" csTypeId="urn:microsoft.com/office/officeart/2005/8/colors/colorful3" csCatId="colorful" phldr="1"/>
      <dgm:spPr/>
      <dgm:t>
        <a:bodyPr/>
        <a:lstStyle/>
        <a:p>
          <a:endParaRPr lang="en-US"/>
        </a:p>
      </dgm:t>
    </dgm:pt>
    <dgm:pt modelId="{85690BA9-BCE6-4FBA-80D1-8817AC10D056}">
      <dgm:prSet custT="1"/>
      <dgm:spPr/>
      <dgm:t>
        <a:bodyPr/>
        <a:lstStyle/>
        <a:p>
          <a:r>
            <a:rPr lang="en-US" sz="1200" b="1" i="1" dirty="0"/>
            <a:t>Segment-level supervision</a:t>
          </a:r>
          <a:endParaRPr lang="en-US" sz="1200" i="1" dirty="0"/>
        </a:p>
      </dgm:t>
    </dgm:pt>
    <dgm:pt modelId="{07A020CE-88B3-4440-AF26-22024DF2EE5D}" type="parTrans" cxnId="{33FC2F0E-7E93-4D4F-9640-0781FBD52FD0}">
      <dgm:prSet/>
      <dgm:spPr/>
      <dgm:t>
        <a:bodyPr/>
        <a:lstStyle/>
        <a:p>
          <a:endParaRPr lang="en-US" sz="1200"/>
        </a:p>
      </dgm:t>
    </dgm:pt>
    <dgm:pt modelId="{C252EB3B-86B6-4D8E-B552-5E4DD82CC720}" type="sibTrans" cxnId="{33FC2F0E-7E93-4D4F-9640-0781FBD52FD0}">
      <dgm:prSet custT="1"/>
      <dgm:spPr/>
      <dgm:t>
        <a:bodyPr/>
        <a:lstStyle/>
        <a:p>
          <a:r>
            <a:rPr lang="en-US" sz="1200" dirty="0"/>
            <a:t>One frame may not contain the full evidence</a:t>
          </a:r>
        </a:p>
      </dgm:t>
    </dgm:pt>
    <dgm:pt modelId="{1B377A5C-5167-432A-81AF-53D2C03C1660}">
      <dgm:prSet custT="1"/>
      <dgm:spPr/>
      <dgm:t>
        <a:bodyPr/>
        <a:lstStyle/>
        <a:p>
          <a:pPr algn="just"/>
          <a:endParaRPr lang="en-US" sz="700" dirty="0"/>
        </a:p>
      </dgm:t>
    </dgm:pt>
    <dgm:pt modelId="{00E82672-7345-4BD7-BFE8-12FB7B80AB73}" type="parTrans" cxnId="{03532820-E2F7-46BA-AB3C-821D12F05EBA}">
      <dgm:prSet/>
      <dgm:spPr/>
      <dgm:t>
        <a:bodyPr/>
        <a:lstStyle/>
        <a:p>
          <a:endParaRPr lang="en-US" sz="1200"/>
        </a:p>
      </dgm:t>
    </dgm:pt>
    <dgm:pt modelId="{3FF6EBFF-237D-4C3A-AC7B-9D5569C3439E}" type="sibTrans" cxnId="{03532820-E2F7-46BA-AB3C-821D12F05EBA}">
      <dgm:prSet/>
      <dgm:spPr/>
      <dgm:t>
        <a:bodyPr/>
        <a:lstStyle/>
        <a:p>
          <a:endParaRPr lang="en-US" sz="1200"/>
        </a:p>
      </dgm:t>
    </dgm:pt>
    <dgm:pt modelId="{96E8BEB6-C7CB-4CED-BAFB-CC150E231F5B}">
      <dgm:prSet custT="1"/>
      <dgm:spPr/>
      <dgm:t>
        <a:bodyPr/>
        <a:lstStyle/>
        <a:p>
          <a:r>
            <a:rPr lang="en-US" sz="1200" b="1" i="1" dirty="0"/>
            <a:t>Rule-defined labels</a:t>
          </a:r>
          <a:endParaRPr lang="en-US" sz="1200" i="1" dirty="0"/>
        </a:p>
      </dgm:t>
    </dgm:pt>
    <dgm:pt modelId="{32387B7A-1321-4BFC-88DC-A377B794A11F}" type="parTrans" cxnId="{932F909D-CED1-49AD-B411-3EC3129AD7D0}">
      <dgm:prSet/>
      <dgm:spPr/>
      <dgm:t>
        <a:bodyPr/>
        <a:lstStyle/>
        <a:p>
          <a:endParaRPr lang="en-US" sz="1200"/>
        </a:p>
      </dgm:t>
    </dgm:pt>
    <dgm:pt modelId="{F625A87C-2711-45F1-A362-EB93FE1D9DC6}" type="sibTrans" cxnId="{932F909D-CED1-49AD-B411-3EC3129AD7D0}">
      <dgm:prSet custT="1"/>
      <dgm:spPr/>
      <dgm:t>
        <a:bodyPr/>
        <a:lstStyle/>
        <a:p>
          <a:r>
            <a:rPr lang="en-US" sz="1200" dirty="0"/>
            <a:t>coding logic &amp; visible content</a:t>
          </a:r>
        </a:p>
      </dgm:t>
    </dgm:pt>
    <dgm:pt modelId="{BC3B6B12-1A84-466B-8ECE-00925212DFBD}">
      <dgm:prSet custT="1"/>
      <dgm:spPr/>
      <dgm:t>
        <a:bodyPr/>
        <a:lstStyle/>
        <a:p>
          <a:pPr algn="just"/>
          <a:endParaRPr lang="en-US" sz="700" dirty="0"/>
        </a:p>
      </dgm:t>
    </dgm:pt>
    <dgm:pt modelId="{CC39B930-9EE8-48E6-9512-A18F7B435F44}" type="parTrans" cxnId="{BA39B946-E4BD-4B25-B41F-1F3A6810BE87}">
      <dgm:prSet/>
      <dgm:spPr/>
      <dgm:t>
        <a:bodyPr/>
        <a:lstStyle/>
        <a:p>
          <a:endParaRPr lang="en-US" sz="1200"/>
        </a:p>
      </dgm:t>
    </dgm:pt>
    <dgm:pt modelId="{FB72E92D-8268-4C4B-B827-57B047CF446F}" type="sibTrans" cxnId="{BA39B946-E4BD-4B25-B41F-1F3A6810BE87}">
      <dgm:prSet/>
      <dgm:spPr/>
      <dgm:t>
        <a:bodyPr/>
        <a:lstStyle/>
        <a:p>
          <a:endParaRPr lang="en-US" sz="1200"/>
        </a:p>
      </dgm:t>
    </dgm:pt>
    <dgm:pt modelId="{CCB71A74-F2B7-41C7-969E-20FA0C5B0289}">
      <dgm:prSet custT="1"/>
      <dgm:spPr/>
      <dgm:t>
        <a:bodyPr/>
        <a:lstStyle/>
        <a:p>
          <a:r>
            <a:rPr lang="en-US" sz="1200" b="1" i="1" dirty="0"/>
            <a:t>Viewpoint-limited or weak visual evidence</a:t>
          </a:r>
          <a:endParaRPr lang="en-US" sz="1200" i="1" dirty="0"/>
        </a:p>
      </dgm:t>
    </dgm:pt>
    <dgm:pt modelId="{F0C48912-1C71-4F94-BF6D-F26AC7BDAD4D}" type="parTrans" cxnId="{EEB1DDF0-F270-433B-B7AA-674030BB199C}">
      <dgm:prSet/>
      <dgm:spPr/>
      <dgm:t>
        <a:bodyPr/>
        <a:lstStyle/>
        <a:p>
          <a:endParaRPr lang="en-US" sz="1200"/>
        </a:p>
      </dgm:t>
    </dgm:pt>
    <dgm:pt modelId="{CA88BB68-AA6F-4BD8-A094-0F73B236891F}" type="sibTrans" cxnId="{EEB1DDF0-F270-433B-B7AA-674030BB199C}">
      <dgm:prSet custT="1"/>
      <dgm:spPr/>
      <dgm:t>
        <a:bodyPr/>
        <a:lstStyle/>
        <a:p>
          <a:r>
            <a:rPr lang="en-US" sz="1200" dirty="0"/>
            <a:t>Forward dashcam alone, not reliable </a:t>
          </a:r>
        </a:p>
      </dgm:t>
    </dgm:pt>
    <dgm:pt modelId="{C8EAE288-72E0-4C88-BD8E-1410E9A0AB8D}">
      <dgm:prSet custT="1"/>
      <dgm:spPr/>
      <dgm:t>
        <a:bodyPr/>
        <a:lstStyle/>
        <a:p>
          <a:pPr algn="just"/>
          <a:endParaRPr lang="en-US" sz="700" dirty="0"/>
        </a:p>
      </dgm:t>
    </dgm:pt>
    <dgm:pt modelId="{965E0CED-1355-4394-B2EC-8D282297FAE7}" type="parTrans" cxnId="{0126356C-8600-4C4C-B802-15A6D5096496}">
      <dgm:prSet/>
      <dgm:spPr/>
      <dgm:t>
        <a:bodyPr/>
        <a:lstStyle/>
        <a:p>
          <a:endParaRPr lang="en-US" sz="1200"/>
        </a:p>
      </dgm:t>
    </dgm:pt>
    <dgm:pt modelId="{2C7CBCB7-4CA8-4E55-8F2D-18E87B9149DB}" type="sibTrans" cxnId="{0126356C-8600-4C4C-B802-15A6D5096496}">
      <dgm:prSet/>
      <dgm:spPr/>
      <dgm:t>
        <a:bodyPr/>
        <a:lstStyle/>
        <a:p>
          <a:endParaRPr lang="en-US" sz="1200"/>
        </a:p>
      </dgm:t>
    </dgm:pt>
    <dgm:pt modelId="{69BD50D6-08DB-433C-9FDD-52150F347BB6}">
      <dgm:prSet custT="1"/>
      <dgm:spPr/>
      <dgm:t>
        <a:bodyPr/>
        <a:lstStyle/>
        <a:p>
          <a:r>
            <a:rPr lang="en-US" sz="1200" b="1" i="1" u="none" dirty="0"/>
            <a:t>Human coding variability</a:t>
          </a:r>
          <a:endParaRPr lang="en-US" sz="1200" i="1" u="none" dirty="0"/>
        </a:p>
      </dgm:t>
    </dgm:pt>
    <dgm:pt modelId="{FBED18AE-39D6-4972-A312-C60A0BD3B10D}" type="parTrans" cxnId="{316F61F0-A41A-45B3-82B6-A70E1AA8AB3E}">
      <dgm:prSet/>
      <dgm:spPr/>
      <dgm:t>
        <a:bodyPr/>
        <a:lstStyle/>
        <a:p>
          <a:endParaRPr lang="en-US" sz="1200"/>
        </a:p>
      </dgm:t>
    </dgm:pt>
    <dgm:pt modelId="{64A9C00A-4A2C-449A-BB97-BFEBC7A7CA9E}" type="sibTrans" cxnId="{316F61F0-A41A-45B3-82B6-A70E1AA8AB3E}">
      <dgm:prSet custT="1"/>
      <dgm:spPr/>
      <dgm:t>
        <a:bodyPr/>
        <a:lstStyle/>
        <a:p>
          <a:r>
            <a:rPr lang="en-US" sz="1200" dirty="0">
              <a:solidFill>
                <a:schemeClr val="tx1"/>
              </a:solidFill>
            </a:rPr>
            <a:t>Propagate into labels and decisions</a:t>
          </a:r>
        </a:p>
      </dgm:t>
    </dgm:pt>
    <dgm:pt modelId="{9FEAD75B-1213-4865-BAD4-66A6A0792477}">
      <dgm:prSet custT="1"/>
      <dgm:spPr/>
      <dgm:t>
        <a:bodyPr/>
        <a:lstStyle/>
        <a:p>
          <a:pPr algn="just"/>
          <a:endParaRPr lang="en-US" sz="700" dirty="0"/>
        </a:p>
      </dgm:t>
    </dgm:pt>
    <dgm:pt modelId="{570D297D-EE03-43DD-A710-1289F9C3DE16}" type="parTrans" cxnId="{4A3C46C3-A812-482D-AED2-D4259B1F330F}">
      <dgm:prSet/>
      <dgm:spPr/>
      <dgm:t>
        <a:bodyPr/>
        <a:lstStyle/>
        <a:p>
          <a:endParaRPr lang="en-US" sz="1200"/>
        </a:p>
      </dgm:t>
    </dgm:pt>
    <dgm:pt modelId="{A5B11132-C945-418D-9521-F44D8A824B31}" type="sibTrans" cxnId="{4A3C46C3-A812-482D-AED2-D4259B1F330F}">
      <dgm:prSet/>
      <dgm:spPr/>
      <dgm:t>
        <a:bodyPr/>
        <a:lstStyle/>
        <a:p>
          <a:endParaRPr lang="en-US" sz="1200"/>
        </a:p>
      </dgm:t>
    </dgm:pt>
    <dgm:pt modelId="{4AA262CD-6069-4390-A35F-B9D2BB47D0EA}" type="pres">
      <dgm:prSet presAssocID="{6A39AE6F-928C-45A8-B85A-989653AB7107}" presName="Name0" presStyleCnt="0">
        <dgm:presLayoutVars>
          <dgm:chMax/>
          <dgm:chPref/>
          <dgm:dir/>
          <dgm:animLvl val="lvl"/>
        </dgm:presLayoutVars>
      </dgm:prSet>
      <dgm:spPr/>
    </dgm:pt>
    <dgm:pt modelId="{8C58D0A4-CA40-4DF2-B97A-9A4F14A1928E}" type="pres">
      <dgm:prSet presAssocID="{85690BA9-BCE6-4FBA-80D1-8817AC10D056}" presName="composite" presStyleCnt="0"/>
      <dgm:spPr/>
    </dgm:pt>
    <dgm:pt modelId="{8E5CE616-5221-40FE-B874-87FBA82721A5}" type="pres">
      <dgm:prSet presAssocID="{85690BA9-BCE6-4FBA-80D1-8817AC10D056}" presName="Parent1" presStyleLbl="node1" presStyleIdx="0" presStyleCnt="8">
        <dgm:presLayoutVars>
          <dgm:chMax val="1"/>
          <dgm:chPref val="1"/>
          <dgm:bulletEnabled val="1"/>
        </dgm:presLayoutVars>
      </dgm:prSet>
      <dgm:spPr/>
    </dgm:pt>
    <dgm:pt modelId="{95148169-63CB-4A85-BF6E-7FC016C0E088}" type="pres">
      <dgm:prSet presAssocID="{85690BA9-BCE6-4FBA-80D1-8817AC10D056}" presName="Childtext1" presStyleLbl="revTx" presStyleIdx="0" presStyleCnt="4">
        <dgm:presLayoutVars>
          <dgm:chMax val="0"/>
          <dgm:chPref val="0"/>
          <dgm:bulletEnabled val="1"/>
        </dgm:presLayoutVars>
      </dgm:prSet>
      <dgm:spPr/>
    </dgm:pt>
    <dgm:pt modelId="{70C18BBB-9653-4097-84CC-5576165A7499}" type="pres">
      <dgm:prSet presAssocID="{85690BA9-BCE6-4FBA-80D1-8817AC10D056}" presName="BalanceSpacing" presStyleCnt="0"/>
      <dgm:spPr/>
    </dgm:pt>
    <dgm:pt modelId="{D19A0441-8E18-45D8-82AB-10ACF199FC1B}" type="pres">
      <dgm:prSet presAssocID="{85690BA9-BCE6-4FBA-80D1-8817AC10D056}" presName="BalanceSpacing1" presStyleCnt="0"/>
      <dgm:spPr/>
    </dgm:pt>
    <dgm:pt modelId="{695A4E11-B97C-400D-9F6A-3557C2E3BEC2}" type="pres">
      <dgm:prSet presAssocID="{C252EB3B-86B6-4D8E-B552-5E4DD82CC720}" presName="Accent1Text" presStyleLbl="node1" presStyleIdx="1" presStyleCnt="8"/>
      <dgm:spPr/>
    </dgm:pt>
    <dgm:pt modelId="{D5007C23-5539-44B0-AC41-36ADFA2A49C2}" type="pres">
      <dgm:prSet presAssocID="{C252EB3B-86B6-4D8E-B552-5E4DD82CC720}" presName="spaceBetweenRectangles" presStyleCnt="0"/>
      <dgm:spPr/>
    </dgm:pt>
    <dgm:pt modelId="{F6CFF487-7B0C-4AA9-8EBF-ACB790810DFE}" type="pres">
      <dgm:prSet presAssocID="{96E8BEB6-C7CB-4CED-BAFB-CC150E231F5B}" presName="composite" presStyleCnt="0"/>
      <dgm:spPr/>
    </dgm:pt>
    <dgm:pt modelId="{AA84A915-EEF1-4E25-90C5-4D7CCA51D3A0}" type="pres">
      <dgm:prSet presAssocID="{96E8BEB6-C7CB-4CED-BAFB-CC150E231F5B}" presName="Parent1" presStyleLbl="node1" presStyleIdx="2" presStyleCnt="8">
        <dgm:presLayoutVars>
          <dgm:chMax val="1"/>
          <dgm:chPref val="1"/>
          <dgm:bulletEnabled val="1"/>
        </dgm:presLayoutVars>
      </dgm:prSet>
      <dgm:spPr/>
    </dgm:pt>
    <dgm:pt modelId="{297E8297-5A4E-49A4-80C1-07952FB55B48}" type="pres">
      <dgm:prSet presAssocID="{96E8BEB6-C7CB-4CED-BAFB-CC150E231F5B}" presName="Childtext1" presStyleLbl="revTx" presStyleIdx="1" presStyleCnt="4">
        <dgm:presLayoutVars>
          <dgm:chMax val="0"/>
          <dgm:chPref val="0"/>
          <dgm:bulletEnabled val="1"/>
        </dgm:presLayoutVars>
      </dgm:prSet>
      <dgm:spPr/>
    </dgm:pt>
    <dgm:pt modelId="{B634393A-BF82-4DB1-96D6-F63D4459013A}" type="pres">
      <dgm:prSet presAssocID="{96E8BEB6-C7CB-4CED-BAFB-CC150E231F5B}" presName="BalanceSpacing" presStyleCnt="0"/>
      <dgm:spPr/>
    </dgm:pt>
    <dgm:pt modelId="{BCE5E174-37DF-4DF6-A78D-28F7E495648A}" type="pres">
      <dgm:prSet presAssocID="{96E8BEB6-C7CB-4CED-BAFB-CC150E231F5B}" presName="BalanceSpacing1" presStyleCnt="0"/>
      <dgm:spPr/>
    </dgm:pt>
    <dgm:pt modelId="{F02C4AC6-F35F-402A-B027-CC451C8E9C15}" type="pres">
      <dgm:prSet presAssocID="{F625A87C-2711-45F1-A362-EB93FE1D9DC6}" presName="Accent1Text" presStyleLbl="node1" presStyleIdx="3" presStyleCnt="8"/>
      <dgm:spPr/>
    </dgm:pt>
    <dgm:pt modelId="{1A7C1E90-4DD9-4E20-861A-5781E41CECC9}" type="pres">
      <dgm:prSet presAssocID="{F625A87C-2711-45F1-A362-EB93FE1D9DC6}" presName="spaceBetweenRectangles" presStyleCnt="0"/>
      <dgm:spPr/>
    </dgm:pt>
    <dgm:pt modelId="{0A25A495-2B37-40A4-9670-7E6222EA65FE}" type="pres">
      <dgm:prSet presAssocID="{CCB71A74-F2B7-41C7-969E-20FA0C5B0289}" presName="composite" presStyleCnt="0"/>
      <dgm:spPr/>
    </dgm:pt>
    <dgm:pt modelId="{F8F41E58-B563-4268-8F56-C1951EF935C7}" type="pres">
      <dgm:prSet presAssocID="{CCB71A74-F2B7-41C7-969E-20FA0C5B0289}" presName="Parent1" presStyleLbl="node1" presStyleIdx="4" presStyleCnt="8">
        <dgm:presLayoutVars>
          <dgm:chMax val="1"/>
          <dgm:chPref val="1"/>
          <dgm:bulletEnabled val="1"/>
        </dgm:presLayoutVars>
      </dgm:prSet>
      <dgm:spPr/>
    </dgm:pt>
    <dgm:pt modelId="{7A831C68-5436-4757-B33D-4CBC72F05BFA}" type="pres">
      <dgm:prSet presAssocID="{CCB71A74-F2B7-41C7-969E-20FA0C5B0289}" presName="Childtext1" presStyleLbl="revTx" presStyleIdx="2" presStyleCnt="4">
        <dgm:presLayoutVars>
          <dgm:chMax val="0"/>
          <dgm:chPref val="0"/>
          <dgm:bulletEnabled val="1"/>
        </dgm:presLayoutVars>
      </dgm:prSet>
      <dgm:spPr/>
    </dgm:pt>
    <dgm:pt modelId="{8B9C9297-216F-47E1-9DBC-357C369AEE50}" type="pres">
      <dgm:prSet presAssocID="{CCB71A74-F2B7-41C7-969E-20FA0C5B0289}" presName="BalanceSpacing" presStyleCnt="0"/>
      <dgm:spPr/>
    </dgm:pt>
    <dgm:pt modelId="{F1498DA2-B375-4B28-8D25-95122E0FF117}" type="pres">
      <dgm:prSet presAssocID="{CCB71A74-F2B7-41C7-969E-20FA0C5B0289}" presName="BalanceSpacing1" presStyleCnt="0"/>
      <dgm:spPr/>
    </dgm:pt>
    <dgm:pt modelId="{3F9B2EC0-214C-4ECD-A8C8-20243778C86A}" type="pres">
      <dgm:prSet presAssocID="{CA88BB68-AA6F-4BD8-A094-0F73B236891F}" presName="Accent1Text" presStyleLbl="node1" presStyleIdx="5" presStyleCnt="8"/>
      <dgm:spPr/>
    </dgm:pt>
    <dgm:pt modelId="{6998BFB0-41BE-4895-95D6-94DD5D4D18F4}" type="pres">
      <dgm:prSet presAssocID="{CA88BB68-AA6F-4BD8-A094-0F73B236891F}" presName="spaceBetweenRectangles" presStyleCnt="0"/>
      <dgm:spPr/>
    </dgm:pt>
    <dgm:pt modelId="{BE2FA49B-DA21-4D45-B84C-E24EEF8F4312}" type="pres">
      <dgm:prSet presAssocID="{69BD50D6-08DB-433C-9FDD-52150F347BB6}" presName="composite" presStyleCnt="0"/>
      <dgm:spPr/>
    </dgm:pt>
    <dgm:pt modelId="{7E0E997B-5F8A-42C3-B173-04F3C85DDFFF}" type="pres">
      <dgm:prSet presAssocID="{69BD50D6-08DB-433C-9FDD-52150F347BB6}" presName="Parent1" presStyleLbl="node1" presStyleIdx="6" presStyleCnt="8">
        <dgm:presLayoutVars>
          <dgm:chMax val="1"/>
          <dgm:chPref val="1"/>
          <dgm:bulletEnabled val="1"/>
        </dgm:presLayoutVars>
      </dgm:prSet>
      <dgm:spPr/>
    </dgm:pt>
    <dgm:pt modelId="{BE42ECED-DC1C-42E7-B6B0-2FC5FB189FC0}" type="pres">
      <dgm:prSet presAssocID="{69BD50D6-08DB-433C-9FDD-52150F347BB6}" presName="Childtext1" presStyleLbl="revTx" presStyleIdx="3" presStyleCnt="4">
        <dgm:presLayoutVars>
          <dgm:chMax val="0"/>
          <dgm:chPref val="0"/>
          <dgm:bulletEnabled val="1"/>
        </dgm:presLayoutVars>
      </dgm:prSet>
      <dgm:spPr/>
    </dgm:pt>
    <dgm:pt modelId="{7CDD011B-F939-4AB3-8D0B-10A5F9F7EA7B}" type="pres">
      <dgm:prSet presAssocID="{69BD50D6-08DB-433C-9FDD-52150F347BB6}" presName="BalanceSpacing" presStyleCnt="0"/>
      <dgm:spPr/>
    </dgm:pt>
    <dgm:pt modelId="{96F0D2F3-ECAA-44FC-A71E-0C3E13726454}" type="pres">
      <dgm:prSet presAssocID="{69BD50D6-08DB-433C-9FDD-52150F347BB6}" presName="BalanceSpacing1" presStyleCnt="0"/>
      <dgm:spPr/>
    </dgm:pt>
    <dgm:pt modelId="{7B39FDF0-F978-4F2D-A13E-07349825134D}" type="pres">
      <dgm:prSet presAssocID="{64A9C00A-4A2C-449A-BB97-BFEBC7A7CA9E}" presName="Accent1Text" presStyleLbl="node1" presStyleIdx="7" presStyleCnt="8"/>
      <dgm:spPr/>
    </dgm:pt>
  </dgm:ptLst>
  <dgm:cxnLst>
    <dgm:cxn modelId="{33FC2F0E-7E93-4D4F-9640-0781FBD52FD0}" srcId="{6A39AE6F-928C-45A8-B85A-989653AB7107}" destId="{85690BA9-BCE6-4FBA-80D1-8817AC10D056}" srcOrd="0" destOrd="0" parTransId="{07A020CE-88B3-4440-AF26-22024DF2EE5D}" sibTransId="{C252EB3B-86B6-4D8E-B552-5E4DD82CC720}"/>
    <dgm:cxn modelId="{EF6A3011-BC04-4D25-9432-F2E8CB48DADB}" type="presOf" srcId="{CA88BB68-AA6F-4BD8-A094-0F73B236891F}" destId="{3F9B2EC0-214C-4ECD-A8C8-20243778C86A}" srcOrd="0" destOrd="0" presId="urn:microsoft.com/office/officeart/2008/layout/AlternatingHexagons"/>
    <dgm:cxn modelId="{03532820-E2F7-46BA-AB3C-821D12F05EBA}" srcId="{85690BA9-BCE6-4FBA-80D1-8817AC10D056}" destId="{1B377A5C-5167-432A-81AF-53D2C03C1660}" srcOrd="0" destOrd="0" parTransId="{00E82672-7345-4BD7-BFE8-12FB7B80AB73}" sibTransId="{3FF6EBFF-237D-4C3A-AC7B-9D5569C3439E}"/>
    <dgm:cxn modelId="{64204F27-7EC7-4127-9FEC-B8B0DD5E253E}" type="presOf" srcId="{9FEAD75B-1213-4865-BAD4-66A6A0792477}" destId="{BE42ECED-DC1C-42E7-B6B0-2FC5FB189FC0}" srcOrd="0" destOrd="0" presId="urn:microsoft.com/office/officeart/2008/layout/AlternatingHexagons"/>
    <dgm:cxn modelId="{41D10234-7B5F-415F-AD81-EADD95CA64CB}" type="presOf" srcId="{64A9C00A-4A2C-449A-BB97-BFEBC7A7CA9E}" destId="{7B39FDF0-F978-4F2D-A13E-07349825134D}" srcOrd="0" destOrd="0" presId="urn:microsoft.com/office/officeart/2008/layout/AlternatingHexagons"/>
    <dgm:cxn modelId="{BA39B946-E4BD-4B25-B41F-1F3A6810BE87}" srcId="{96E8BEB6-C7CB-4CED-BAFB-CC150E231F5B}" destId="{BC3B6B12-1A84-466B-8ECE-00925212DFBD}" srcOrd="0" destOrd="0" parTransId="{CC39B930-9EE8-48E6-9512-A18F7B435F44}" sibTransId="{FB72E92D-8268-4C4B-B827-57B047CF446F}"/>
    <dgm:cxn modelId="{0126356C-8600-4C4C-B802-15A6D5096496}" srcId="{CCB71A74-F2B7-41C7-969E-20FA0C5B0289}" destId="{C8EAE288-72E0-4C88-BD8E-1410E9A0AB8D}" srcOrd="0" destOrd="0" parTransId="{965E0CED-1355-4394-B2EC-8D282297FAE7}" sibTransId="{2C7CBCB7-4CA8-4E55-8F2D-18E87B9149DB}"/>
    <dgm:cxn modelId="{7E67B84C-5CF0-471E-B7BF-4CDD5FB50A77}" type="presOf" srcId="{85690BA9-BCE6-4FBA-80D1-8817AC10D056}" destId="{8E5CE616-5221-40FE-B874-87FBA82721A5}" srcOrd="0" destOrd="0" presId="urn:microsoft.com/office/officeart/2008/layout/AlternatingHexagons"/>
    <dgm:cxn modelId="{81804D4E-DC5A-4304-9FC0-7F246DBA1196}" type="presOf" srcId="{BC3B6B12-1A84-466B-8ECE-00925212DFBD}" destId="{297E8297-5A4E-49A4-80C1-07952FB55B48}" srcOrd="0" destOrd="0" presId="urn:microsoft.com/office/officeart/2008/layout/AlternatingHexagons"/>
    <dgm:cxn modelId="{05B0644F-A48B-4F71-B5DA-B4195437B346}" type="presOf" srcId="{F625A87C-2711-45F1-A362-EB93FE1D9DC6}" destId="{F02C4AC6-F35F-402A-B027-CC451C8E9C15}" srcOrd="0" destOrd="0" presId="urn:microsoft.com/office/officeart/2008/layout/AlternatingHexagons"/>
    <dgm:cxn modelId="{E2DCDE4F-1D1B-43F3-9EFE-2588D91BE91D}" type="presOf" srcId="{6A39AE6F-928C-45A8-B85A-989653AB7107}" destId="{4AA262CD-6069-4390-A35F-B9D2BB47D0EA}" srcOrd="0" destOrd="0" presId="urn:microsoft.com/office/officeart/2008/layout/AlternatingHexagons"/>
    <dgm:cxn modelId="{6A18737D-E198-48F9-AEEA-0FD353D6E638}" type="presOf" srcId="{C252EB3B-86B6-4D8E-B552-5E4DD82CC720}" destId="{695A4E11-B97C-400D-9F6A-3557C2E3BEC2}" srcOrd="0" destOrd="0" presId="urn:microsoft.com/office/officeart/2008/layout/AlternatingHexagons"/>
    <dgm:cxn modelId="{88F32984-78D7-482A-95CA-A62AF9CC3C31}" type="presOf" srcId="{96E8BEB6-C7CB-4CED-BAFB-CC150E231F5B}" destId="{AA84A915-EEF1-4E25-90C5-4D7CCA51D3A0}" srcOrd="0" destOrd="0" presId="urn:microsoft.com/office/officeart/2008/layout/AlternatingHexagons"/>
    <dgm:cxn modelId="{932F909D-CED1-49AD-B411-3EC3129AD7D0}" srcId="{6A39AE6F-928C-45A8-B85A-989653AB7107}" destId="{96E8BEB6-C7CB-4CED-BAFB-CC150E231F5B}" srcOrd="1" destOrd="0" parTransId="{32387B7A-1321-4BFC-88DC-A377B794A11F}" sibTransId="{F625A87C-2711-45F1-A362-EB93FE1D9DC6}"/>
    <dgm:cxn modelId="{FC92D4C1-A7FE-4378-BD6E-D2701CB6B09A}" type="presOf" srcId="{1B377A5C-5167-432A-81AF-53D2C03C1660}" destId="{95148169-63CB-4A85-BF6E-7FC016C0E088}" srcOrd="0" destOrd="0" presId="urn:microsoft.com/office/officeart/2008/layout/AlternatingHexagons"/>
    <dgm:cxn modelId="{4A3C46C3-A812-482D-AED2-D4259B1F330F}" srcId="{69BD50D6-08DB-433C-9FDD-52150F347BB6}" destId="{9FEAD75B-1213-4865-BAD4-66A6A0792477}" srcOrd="0" destOrd="0" parTransId="{570D297D-EE03-43DD-A710-1289F9C3DE16}" sibTransId="{A5B11132-C945-418D-9521-F44D8A824B31}"/>
    <dgm:cxn modelId="{A525C6D8-C5E4-4A0B-9F77-8186EDAD0094}" type="presOf" srcId="{C8EAE288-72E0-4C88-BD8E-1410E9A0AB8D}" destId="{7A831C68-5436-4757-B33D-4CBC72F05BFA}" srcOrd="0" destOrd="0" presId="urn:microsoft.com/office/officeart/2008/layout/AlternatingHexagons"/>
    <dgm:cxn modelId="{C97D68D9-3F8D-4C31-AEB8-CF97BD888D6C}" type="presOf" srcId="{69BD50D6-08DB-433C-9FDD-52150F347BB6}" destId="{7E0E997B-5F8A-42C3-B173-04F3C85DDFFF}" srcOrd="0" destOrd="0" presId="urn:microsoft.com/office/officeart/2008/layout/AlternatingHexagons"/>
    <dgm:cxn modelId="{A0ABFEE4-7760-4AC0-B42D-AC4AC70C4E56}" type="presOf" srcId="{CCB71A74-F2B7-41C7-969E-20FA0C5B0289}" destId="{F8F41E58-B563-4268-8F56-C1951EF935C7}" srcOrd="0" destOrd="0" presId="urn:microsoft.com/office/officeart/2008/layout/AlternatingHexagons"/>
    <dgm:cxn modelId="{316F61F0-A41A-45B3-82B6-A70E1AA8AB3E}" srcId="{6A39AE6F-928C-45A8-B85A-989653AB7107}" destId="{69BD50D6-08DB-433C-9FDD-52150F347BB6}" srcOrd="3" destOrd="0" parTransId="{FBED18AE-39D6-4972-A312-C60A0BD3B10D}" sibTransId="{64A9C00A-4A2C-449A-BB97-BFEBC7A7CA9E}"/>
    <dgm:cxn modelId="{EEB1DDF0-F270-433B-B7AA-674030BB199C}" srcId="{6A39AE6F-928C-45A8-B85A-989653AB7107}" destId="{CCB71A74-F2B7-41C7-969E-20FA0C5B0289}" srcOrd="2" destOrd="0" parTransId="{F0C48912-1C71-4F94-BF6D-F26AC7BDAD4D}" sibTransId="{CA88BB68-AA6F-4BD8-A094-0F73B236891F}"/>
    <dgm:cxn modelId="{EEE7534D-C135-47E0-B1CF-84E1D4AF6EC0}" type="presParOf" srcId="{4AA262CD-6069-4390-A35F-B9D2BB47D0EA}" destId="{8C58D0A4-CA40-4DF2-B97A-9A4F14A1928E}" srcOrd="0" destOrd="0" presId="urn:microsoft.com/office/officeart/2008/layout/AlternatingHexagons"/>
    <dgm:cxn modelId="{E1C9D5F4-AECC-4105-A94A-D6E6DBF5CD28}" type="presParOf" srcId="{8C58D0A4-CA40-4DF2-B97A-9A4F14A1928E}" destId="{8E5CE616-5221-40FE-B874-87FBA82721A5}" srcOrd="0" destOrd="0" presId="urn:microsoft.com/office/officeart/2008/layout/AlternatingHexagons"/>
    <dgm:cxn modelId="{E588013C-B7FD-47C3-B33C-CD2476F284F1}" type="presParOf" srcId="{8C58D0A4-CA40-4DF2-B97A-9A4F14A1928E}" destId="{95148169-63CB-4A85-BF6E-7FC016C0E088}" srcOrd="1" destOrd="0" presId="urn:microsoft.com/office/officeart/2008/layout/AlternatingHexagons"/>
    <dgm:cxn modelId="{7EAE8912-4CC4-4F8E-85FF-F375D981D5EE}" type="presParOf" srcId="{8C58D0A4-CA40-4DF2-B97A-9A4F14A1928E}" destId="{70C18BBB-9653-4097-84CC-5576165A7499}" srcOrd="2" destOrd="0" presId="urn:microsoft.com/office/officeart/2008/layout/AlternatingHexagons"/>
    <dgm:cxn modelId="{83D24AEE-B650-43B2-B5AD-9E3CA0F90484}" type="presParOf" srcId="{8C58D0A4-CA40-4DF2-B97A-9A4F14A1928E}" destId="{D19A0441-8E18-45D8-82AB-10ACF199FC1B}" srcOrd="3" destOrd="0" presId="urn:microsoft.com/office/officeart/2008/layout/AlternatingHexagons"/>
    <dgm:cxn modelId="{9E7E72DF-D0CC-4DB3-ACE5-A92F1A1FAACA}" type="presParOf" srcId="{8C58D0A4-CA40-4DF2-B97A-9A4F14A1928E}" destId="{695A4E11-B97C-400D-9F6A-3557C2E3BEC2}" srcOrd="4" destOrd="0" presId="urn:microsoft.com/office/officeart/2008/layout/AlternatingHexagons"/>
    <dgm:cxn modelId="{F4085999-9B53-46EB-B42D-4EE74E87052D}" type="presParOf" srcId="{4AA262CD-6069-4390-A35F-B9D2BB47D0EA}" destId="{D5007C23-5539-44B0-AC41-36ADFA2A49C2}" srcOrd="1" destOrd="0" presId="urn:microsoft.com/office/officeart/2008/layout/AlternatingHexagons"/>
    <dgm:cxn modelId="{5EABD296-71F1-4754-B4D3-2F4EA40F9CD7}" type="presParOf" srcId="{4AA262CD-6069-4390-A35F-B9D2BB47D0EA}" destId="{F6CFF487-7B0C-4AA9-8EBF-ACB790810DFE}" srcOrd="2" destOrd="0" presId="urn:microsoft.com/office/officeart/2008/layout/AlternatingHexagons"/>
    <dgm:cxn modelId="{7AE2EBEC-D012-4E9A-ADD5-07D2FBB620D9}" type="presParOf" srcId="{F6CFF487-7B0C-4AA9-8EBF-ACB790810DFE}" destId="{AA84A915-EEF1-4E25-90C5-4D7CCA51D3A0}" srcOrd="0" destOrd="0" presId="urn:microsoft.com/office/officeart/2008/layout/AlternatingHexagons"/>
    <dgm:cxn modelId="{68693AF0-86B6-46D7-A29D-323BC04E0190}" type="presParOf" srcId="{F6CFF487-7B0C-4AA9-8EBF-ACB790810DFE}" destId="{297E8297-5A4E-49A4-80C1-07952FB55B48}" srcOrd="1" destOrd="0" presId="urn:microsoft.com/office/officeart/2008/layout/AlternatingHexagons"/>
    <dgm:cxn modelId="{4E1C71AA-9977-44F2-A94C-8CCD9E26ABA2}" type="presParOf" srcId="{F6CFF487-7B0C-4AA9-8EBF-ACB790810DFE}" destId="{B634393A-BF82-4DB1-96D6-F63D4459013A}" srcOrd="2" destOrd="0" presId="urn:microsoft.com/office/officeart/2008/layout/AlternatingHexagons"/>
    <dgm:cxn modelId="{270F3AE6-EAB7-46C1-9D76-F361ECE7F8CA}" type="presParOf" srcId="{F6CFF487-7B0C-4AA9-8EBF-ACB790810DFE}" destId="{BCE5E174-37DF-4DF6-A78D-28F7E495648A}" srcOrd="3" destOrd="0" presId="urn:microsoft.com/office/officeart/2008/layout/AlternatingHexagons"/>
    <dgm:cxn modelId="{AE0890C3-64A4-48D6-AF8A-1DC6AD8E33DA}" type="presParOf" srcId="{F6CFF487-7B0C-4AA9-8EBF-ACB790810DFE}" destId="{F02C4AC6-F35F-402A-B027-CC451C8E9C15}" srcOrd="4" destOrd="0" presId="urn:microsoft.com/office/officeart/2008/layout/AlternatingHexagons"/>
    <dgm:cxn modelId="{BC2475D6-CC72-4942-8CAB-AA2DD42D0FC5}" type="presParOf" srcId="{4AA262CD-6069-4390-A35F-B9D2BB47D0EA}" destId="{1A7C1E90-4DD9-4E20-861A-5781E41CECC9}" srcOrd="3" destOrd="0" presId="urn:microsoft.com/office/officeart/2008/layout/AlternatingHexagons"/>
    <dgm:cxn modelId="{04DD0A31-77DB-4E94-8FEF-4E0AA44C71EF}" type="presParOf" srcId="{4AA262CD-6069-4390-A35F-B9D2BB47D0EA}" destId="{0A25A495-2B37-40A4-9670-7E6222EA65FE}" srcOrd="4" destOrd="0" presId="urn:microsoft.com/office/officeart/2008/layout/AlternatingHexagons"/>
    <dgm:cxn modelId="{454B6EEC-9478-4953-92D0-BFA4B6ADB628}" type="presParOf" srcId="{0A25A495-2B37-40A4-9670-7E6222EA65FE}" destId="{F8F41E58-B563-4268-8F56-C1951EF935C7}" srcOrd="0" destOrd="0" presId="urn:microsoft.com/office/officeart/2008/layout/AlternatingHexagons"/>
    <dgm:cxn modelId="{F35A826E-ED00-4363-B57B-10489111C622}" type="presParOf" srcId="{0A25A495-2B37-40A4-9670-7E6222EA65FE}" destId="{7A831C68-5436-4757-B33D-4CBC72F05BFA}" srcOrd="1" destOrd="0" presId="urn:microsoft.com/office/officeart/2008/layout/AlternatingHexagons"/>
    <dgm:cxn modelId="{D9A2EAB8-A8E1-4394-A6EC-624BBF426B8A}" type="presParOf" srcId="{0A25A495-2B37-40A4-9670-7E6222EA65FE}" destId="{8B9C9297-216F-47E1-9DBC-357C369AEE50}" srcOrd="2" destOrd="0" presId="urn:microsoft.com/office/officeart/2008/layout/AlternatingHexagons"/>
    <dgm:cxn modelId="{0147BF4E-C9F9-4A7C-A39F-66D8E36C9067}" type="presParOf" srcId="{0A25A495-2B37-40A4-9670-7E6222EA65FE}" destId="{F1498DA2-B375-4B28-8D25-95122E0FF117}" srcOrd="3" destOrd="0" presId="urn:microsoft.com/office/officeart/2008/layout/AlternatingHexagons"/>
    <dgm:cxn modelId="{7B7858E4-82A2-4309-98CF-C9B5A2F6D51A}" type="presParOf" srcId="{0A25A495-2B37-40A4-9670-7E6222EA65FE}" destId="{3F9B2EC0-214C-4ECD-A8C8-20243778C86A}" srcOrd="4" destOrd="0" presId="urn:microsoft.com/office/officeart/2008/layout/AlternatingHexagons"/>
    <dgm:cxn modelId="{75F553EC-221D-464D-BBCA-7B518D0385D3}" type="presParOf" srcId="{4AA262CD-6069-4390-A35F-B9D2BB47D0EA}" destId="{6998BFB0-41BE-4895-95D6-94DD5D4D18F4}" srcOrd="5" destOrd="0" presId="urn:microsoft.com/office/officeart/2008/layout/AlternatingHexagons"/>
    <dgm:cxn modelId="{5D3D3C10-408B-440F-A205-E0261AA13363}" type="presParOf" srcId="{4AA262CD-6069-4390-A35F-B9D2BB47D0EA}" destId="{BE2FA49B-DA21-4D45-B84C-E24EEF8F4312}" srcOrd="6" destOrd="0" presId="urn:microsoft.com/office/officeart/2008/layout/AlternatingHexagons"/>
    <dgm:cxn modelId="{7BFC097F-D077-4D23-B1F1-1423A5B7BB0B}" type="presParOf" srcId="{BE2FA49B-DA21-4D45-B84C-E24EEF8F4312}" destId="{7E0E997B-5F8A-42C3-B173-04F3C85DDFFF}" srcOrd="0" destOrd="0" presId="urn:microsoft.com/office/officeart/2008/layout/AlternatingHexagons"/>
    <dgm:cxn modelId="{0C827433-1B81-4B41-8756-9CFC3B10106B}" type="presParOf" srcId="{BE2FA49B-DA21-4D45-B84C-E24EEF8F4312}" destId="{BE42ECED-DC1C-42E7-B6B0-2FC5FB189FC0}" srcOrd="1" destOrd="0" presId="urn:microsoft.com/office/officeart/2008/layout/AlternatingHexagons"/>
    <dgm:cxn modelId="{8D1D9172-5DD7-43E0-978E-879D5D0C90E1}" type="presParOf" srcId="{BE2FA49B-DA21-4D45-B84C-E24EEF8F4312}" destId="{7CDD011B-F939-4AB3-8D0B-10A5F9F7EA7B}" srcOrd="2" destOrd="0" presId="urn:microsoft.com/office/officeart/2008/layout/AlternatingHexagons"/>
    <dgm:cxn modelId="{18DAE24F-DE60-4D28-A46F-F0C2E36D9F78}" type="presParOf" srcId="{BE2FA49B-DA21-4D45-B84C-E24EEF8F4312}" destId="{96F0D2F3-ECAA-44FC-A71E-0C3E13726454}" srcOrd="3" destOrd="0" presId="urn:microsoft.com/office/officeart/2008/layout/AlternatingHexagons"/>
    <dgm:cxn modelId="{74141C3F-CFB7-4F73-87ED-D8374AEA9B4D}" type="presParOf" srcId="{BE2FA49B-DA21-4D45-B84C-E24EEF8F4312}" destId="{7B39FDF0-F978-4F2D-A13E-07349825134D}"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499489-0A72-4337-801F-0D4881F2B37F}">
      <dsp:nvSpPr>
        <dsp:cNvPr id="0" name=""/>
        <dsp:cNvSpPr/>
      </dsp:nvSpPr>
      <dsp:spPr>
        <a:xfrm>
          <a:off x="0" y="1805"/>
          <a:ext cx="5181600" cy="91531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1BA737B-E520-4905-A5CB-C6DAF3D4D656}">
      <dsp:nvSpPr>
        <dsp:cNvPr id="0" name=""/>
        <dsp:cNvSpPr/>
      </dsp:nvSpPr>
      <dsp:spPr>
        <a:xfrm>
          <a:off x="276881" y="207750"/>
          <a:ext cx="503420" cy="50342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DE9C3AE-923D-484B-AAAE-159209801306}">
      <dsp:nvSpPr>
        <dsp:cNvPr id="0" name=""/>
        <dsp:cNvSpPr/>
      </dsp:nvSpPr>
      <dsp:spPr>
        <a:xfrm>
          <a:off x="1057183" y="1805"/>
          <a:ext cx="41244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977900">
            <a:lnSpc>
              <a:spcPct val="90000"/>
            </a:lnSpc>
            <a:spcBef>
              <a:spcPct val="0"/>
            </a:spcBef>
            <a:spcAft>
              <a:spcPct val="35000"/>
            </a:spcAft>
            <a:buNone/>
          </a:pPr>
          <a:r>
            <a:rPr lang="en-US" sz="2200" b="0" kern="1200" dirty="0"/>
            <a:t>Dashcam Evidence</a:t>
          </a:r>
        </a:p>
      </dsp:txBody>
      <dsp:txXfrm>
        <a:off x="1057183" y="1805"/>
        <a:ext cx="4124416" cy="915310"/>
      </dsp:txXfrm>
    </dsp:sp>
    <dsp:sp modelId="{D967335F-169B-47AA-8A82-F9A70C287BDA}">
      <dsp:nvSpPr>
        <dsp:cNvPr id="0" name=""/>
        <dsp:cNvSpPr/>
      </dsp:nvSpPr>
      <dsp:spPr>
        <a:xfrm>
          <a:off x="0" y="1145944"/>
          <a:ext cx="5181600" cy="91531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C866EDF-96CF-4A88-B65B-AE7E071C1703}">
      <dsp:nvSpPr>
        <dsp:cNvPr id="0" name=""/>
        <dsp:cNvSpPr/>
      </dsp:nvSpPr>
      <dsp:spPr>
        <a:xfrm>
          <a:off x="276881" y="1351889"/>
          <a:ext cx="503420" cy="50342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16E6E7B-09C4-4D23-A874-C2D837F110DE}">
      <dsp:nvSpPr>
        <dsp:cNvPr id="0" name=""/>
        <dsp:cNvSpPr/>
      </dsp:nvSpPr>
      <dsp:spPr>
        <a:xfrm>
          <a:off x="1057183" y="1145944"/>
          <a:ext cx="41244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977900">
            <a:lnSpc>
              <a:spcPct val="90000"/>
            </a:lnSpc>
            <a:spcBef>
              <a:spcPct val="0"/>
            </a:spcBef>
            <a:spcAft>
              <a:spcPct val="35000"/>
            </a:spcAft>
            <a:buNone/>
          </a:pPr>
          <a:r>
            <a:rPr lang="en-US" sz="2200" kern="1200" dirty="0"/>
            <a:t>Coded Road Attributes</a:t>
          </a:r>
        </a:p>
      </dsp:txBody>
      <dsp:txXfrm>
        <a:off x="1057183" y="1145944"/>
        <a:ext cx="4124416" cy="915310"/>
      </dsp:txXfrm>
    </dsp:sp>
    <dsp:sp modelId="{61658405-2DC6-4A1D-9EDF-374AC5E0AFCE}">
      <dsp:nvSpPr>
        <dsp:cNvPr id="0" name=""/>
        <dsp:cNvSpPr/>
      </dsp:nvSpPr>
      <dsp:spPr>
        <a:xfrm>
          <a:off x="0" y="2290082"/>
          <a:ext cx="5181600" cy="91531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9601EA5-E0DF-44F2-B1D6-22D1DFEFEE48}">
      <dsp:nvSpPr>
        <dsp:cNvPr id="0" name=""/>
        <dsp:cNvSpPr/>
      </dsp:nvSpPr>
      <dsp:spPr>
        <a:xfrm>
          <a:off x="276881" y="2496027"/>
          <a:ext cx="503420" cy="50342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8161E5E-C1EC-47B0-B512-4FE921E4EBEA}">
      <dsp:nvSpPr>
        <dsp:cNvPr id="0" name=""/>
        <dsp:cNvSpPr/>
      </dsp:nvSpPr>
      <dsp:spPr>
        <a:xfrm>
          <a:off x="1057183" y="2290082"/>
          <a:ext cx="41244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977900">
            <a:lnSpc>
              <a:spcPct val="90000"/>
            </a:lnSpc>
            <a:spcBef>
              <a:spcPct val="0"/>
            </a:spcBef>
            <a:spcAft>
              <a:spcPct val="35000"/>
            </a:spcAft>
            <a:buNone/>
          </a:pPr>
          <a:r>
            <a:rPr lang="en-US" sz="2200" kern="1200" dirty="0"/>
            <a:t>Star Rating</a:t>
          </a:r>
        </a:p>
      </dsp:txBody>
      <dsp:txXfrm>
        <a:off x="1057183" y="2290082"/>
        <a:ext cx="4124416" cy="915310"/>
      </dsp:txXfrm>
    </dsp:sp>
    <dsp:sp modelId="{AAE997B5-A5E5-4227-8EF7-85A5D7810959}">
      <dsp:nvSpPr>
        <dsp:cNvPr id="0" name=""/>
        <dsp:cNvSpPr/>
      </dsp:nvSpPr>
      <dsp:spPr>
        <a:xfrm>
          <a:off x="0" y="3434221"/>
          <a:ext cx="5181600" cy="91531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0C45464-C182-4AF3-BB4E-B27A1151EFBC}">
      <dsp:nvSpPr>
        <dsp:cNvPr id="0" name=""/>
        <dsp:cNvSpPr/>
      </dsp:nvSpPr>
      <dsp:spPr>
        <a:xfrm>
          <a:off x="276881" y="3640166"/>
          <a:ext cx="503420" cy="50342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6DC10D8-A09D-4F5E-A6D2-08ACAD6417BD}">
      <dsp:nvSpPr>
        <dsp:cNvPr id="0" name=""/>
        <dsp:cNvSpPr/>
      </dsp:nvSpPr>
      <dsp:spPr>
        <a:xfrm>
          <a:off x="1057183" y="3434221"/>
          <a:ext cx="41244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977900">
            <a:lnSpc>
              <a:spcPct val="90000"/>
            </a:lnSpc>
            <a:spcBef>
              <a:spcPct val="0"/>
            </a:spcBef>
            <a:spcAft>
              <a:spcPct val="35000"/>
            </a:spcAft>
            <a:buNone/>
          </a:pPr>
          <a:r>
            <a:rPr lang="en-US" sz="2200" kern="1200" dirty="0"/>
            <a:t>Review and Intervention</a:t>
          </a:r>
        </a:p>
      </dsp:txBody>
      <dsp:txXfrm>
        <a:off x="1057183" y="3434221"/>
        <a:ext cx="4124416" cy="91531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5CE616-5221-40FE-B874-87FBA82721A5}">
      <dsp:nvSpPr>
        <dsp:cNvPr id="0" name=""/>
        <dsp:cNvSpPr/>
      </dsp:nvSpPr>
      <dsp:spPr>
        <a:xfrm rot="5400000">
          <a:off x="2311466" y="90465"/>
          <a:ext cx="1390096" cy="1209383"/>
        </a:xfrm>
        <a:prstGeom prst="hexagon">
          <a:avLst>
            <a:gd name="adj" fmla="val 25000"/>
            <a:gd name="vf" fmla="val 11547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i="1" kern="1200" dirty="0"/>
            <a:t>Segment-level supervision</a:t>
          </a:r>
          <a:endParaRPr lang="en-US" sz="1200" i="1" kern="1200" dirty="0"/>
        </a:p>
      </dsp:txBody>
      <dsp:txXfrm rot="-5400000">
        <a:off x="2590284" y="216732"/>
        <a:ext cx="832459" cy="956850"/>
      </dsp:txXfrm>
    </dsp:sp>
    <dsp:sp modelId="{95148169-63CB-4A85-BF6E-7FC016C0E088}">
      <dsp:nvSpPr>
        <dsp:cNvPr id="0" name=""/>
        <dsp:cNvSpPr/>
      </dsp:nvSpPr>
      <dsp:spPr>
        <a:xfrm>
          <a:off x="3647904" y="278128"/>
          <a:ext cx="1551347" cy="8340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just" defTabSz="311150">
            <a:lnSpc>
              <a:spcPct val="90000"/>
            </a:lnSpc>
            <a:spcBef>
              <a:spcPct val="0"/>
            </a:spcBef>
            <a:spcAft>
              <a:spcPct val="35000"/>
            </a:spcAft>
            <a:buNone/>
          </a:pPr>
          <a:endParaRPr lang="en-US" sz="700" kern="1200" dirty="0"/>
        </a:p>
      </dsp:txBody>
      <dsp:txXfrm>
        <a:off x="3647904" y="278128"/>
        <a:ext cx="1551347" cy="834057"/>
      </dsp:txXfrm>
    </dsp:sp>
    <dsp:sp modelId="{695A4E11-B97C-400D-9F6A-3557C2E3BEC2}">
      <dsp:nvSpPr>
        <dsp:cNvPr id="0" name=""/>
        <dsp:cNvSpPr/>
      </dsp:nvSpPr>
      <dsp:spPr>
        <a:xfrm rot="5400000">
          <a:off x="1005332" y="90465"/>
          <a:ext cx="1390096" cy="1209383"/>
        </a:xfrm>
        <a:prstGeom prst="hexagon">
          <a:avLst>
            <a:gd name="adj" fmla="val 25000"/>
            <a:gd name="vf" fmla="val 115470"/>
          </a:avLst>
        </a:prstGeom>
        <a:gradFill rotWithShape="0">
          <a:gsLst>
            <a:gs pos="0">
              <a:schemeClr val="accent3">
                <a:hueOff val="-1123177"/>
                <a:satOff val="0"/>
                <a:lumOff val="224"/>
                <a:alphaOff val="0"/>
                <a:satMod val="103000"/>
                <a:lumMod val="102000"/>
                <a:tint val="94000"/>
              </a:schemeClr>
            </a:gs>
            <a:gs pos="50000">
              <a:schemeClr val="accent3">
                <a:hueOff val="-1123177"/>
                <a:satOff val="0"/>
                <a:lumOff val="224"/>
                <a:alphaOff val="0"/>
                <a:satMod val="110000"/>
                <a:lumMod val="100000"/>
                <a:shade val="100000"/>
              </a:schemeClr>
            </a:gs>
            <a:gs pos="100000">
              <a:schemeClr val="accent3">
                <a:hueOff val="-1123177"/>
                <a:satOff val="0"/>
                <a:lumOff val="224"/>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US" sz="1200" kern="1200" dirty="0"/>
            <a:t>One frame may not contain the full evidence</a:t>
          </a:r>
        </a:p>
      </dsp:txBody>
      <dsp:txXfrm rot="-5400000">
        <a:off x="1284150" y="216732"/>
        <a:ext cx="832459" cy="956850"/>
      </dsp:txXfrm>
    </dsp:sp>
    <dsp:sp modelId="{AA84A915-EEF1-4E25-90C5-4D7CCA51D3A0}">
      <dsp:nvSpPr>
        <dsp:cNvPr id="0" name=""/>
        <dsp:cNvSpPr/>
      </dsp:nvSpPr>
      <dsp:spPr>
        <a:xfrm rot="5400000">
          <a:off x="1655897" y="1270378"/>
          <a:ext cx="1390096" cy="1209383"/>
        </a:xfrm>
        <a:prstGeom prst="hexagon">
          <a:avLst>
            <a:gd name="adj" fmla="val 25000"/>
            <a:gd name="vf" fmla="val 115470"/>
          </a:avLst>
        </a:prstGeom>
        <a:gradFill rotWithShape="0">
          <a:gsLst>
            <a:gs pos="0">
              <a:schemeClr val="accent3">
                <a:hueOff val="-2246354"/>
                <a:satOff val="0"/>
                <a:lumOff val="448"/>
                <a:alphaOff val="0"/>
                <a:satMod val="103000"/>
                <a:lumMod val="102000"/>
                <a:tint val="94000"/>
              </a:schemeClr>
            </a:gs>
            <a:gs pos="50000">
              <a:schemeClr val="accent3">
                <a:hueOff val="-2246354"/>
                <a:satOff val="0"/>
                <a:lumOff val="448"/>
                <a:alphaOff val="0"/>
                <a:satMod val="110000"/>
                <a:lumMod val="100000"/>
                <a:shade val="100000"/>
              </a:schemeClr>
            </a:gs>
            <a:gs pos="100000">
              <a:schemeClr val="accent3">
                <a:hueOff val="-2246354"/>
                <a:satOff val="0"/>
                <a:lumOff val="44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i="1" kern="1200" dirty="0"/>
            <a:t>Rule-defined labels</a:t>
          </a:r>
          <a:endParaRPr lang="en-US" sz="1200" i="1" kern="1200" dirty="0"/>
        </a:p>
      </dsp:txBody>
      <dsp:txXfrm rot="-5400000">
        <a:off x="1934715" y="1396645"/>
        <a:ext cx="832459" cy="956850"/>
      </dsp:txXfrm>
    </dsp:sp>
    <dsp:sp modelId="{297E8297-5A4E-49A4-80C1-07952FB55B48}">
      <dsp:nvSpPr>
        <dsp:cNvPr id="0" name=""/>
        <dsp:cNvSpPr/>
      </dsp:nvSpPr>
      <dsp:spPr>
        <a:xfrm>
          <a:off x="194906" y="1458041"/>
          <a:ext cx="1501303" cy="8340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just" defTabSz="311150">
            <a:lnSpc>
              <a:spcPct val="90000"/>
            </a:lnSpc>
            <a:spcBef>
              <a:spcPct val="0"/>
            </a:spcBef>
            <a:spcAft>
              <a:spcPct val="35000"/>
            </a:spcAft>
            <a:buNone/>
          </a:pPr>
          <a:endParaRPr lang="en-US" sz="700" kern="1200" dirty="0"/>
        </a:p>
      </dsp:txBody>
      <dsp:txXfrm>
        <a:off x="194906" y="1458041"/>
        <a:ext cx="1501303" cy="834057"/>
      </dsp:txXfrm>
    </dsp:sp>
    <dsp:sp modelId="{F02C4AC6-F35F-402A-B027-CC451C8E9C15}">
      <dsp:nvSpPr>
        <dsp:cNvPr id="0" name=""/>
        <dsp:cNvSpPr/>
      </dsp:nvSpPr>
      <dsp:spPr>
        <a:xfrm rot="5400000">
          <a:off x="2962031" y="1270378"/>
          <a:ext cx="1390096" cy="1209383"/>
        </a:xfrm>
        <a:prstGeom prst="hexagon">
          <a:avLst>
            <a:gd name="adj" fmla="val 25000"/>
            <a:gd name="vf" fmla="val 115470"/>
          </a:avLst>
        </a:prstGeom>
        <a:gradFill rotWithShape="0">
          <a:gsLst>
            <a:gs pos="0">
              <a:schemeClr val="accent3">
                <a:hueOff val="-3369530"/>
                <a:satOff val="0"/>
                <a:lumOff val="672"/>
                <a:alphaOff val="0"/>
                <a:satMod val="103000"/>
                <a:lumMod val="102000"/>
                <a:tint val="94000"/>
              </a:schemeClr>
            </a:gs>
            <a:gs pos="50000">
              <a:schemeClr val="accent3">
                <a:hueOff val="-3369530"/>
                <a:satOff val="0"/>
                <a:lumOff val="672"/>
                <a:alphaOff val="0"/>
                <a:satMod val="110000"/>
                <a:lumMod val="100000"/>
                <a:shade val="100000"/>
              </a:schemeClr>
            </a:gs>
            <a:gs pos="100000">
              <a:schemeClr val="accent3">
                <a:hueOff val="-3369530"/>
                <a:satOff val="0"/>
                <a:lumOff val="672"/>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US" sz="1200" kern="1200" dirty="0"/>
            <a:t>coding logic &amp; visible content</a:t>
          </a:r>
        </a:p>
      </dsp:txBody>
      <dsp:txXfrm rot="-5400000">
        <a:off x="3240849" y="1396645"/>
        <a:ext cx="832459" cy="956850"/>
      </dsp:txXfrm>
    </dsp:sp>
    <dsp:sp modelId="{F8F41E58-B563-4268-8F56-C1951EF935C7}">
      <dsp:nvSpPr>
        <dsp:cNvPr id="0" name=""/>
        <dsp:cNvSpPr/>
      </dsp:nvSpPr>
      <dsp:spPr>
        <a:xfrm rot="5400000">
          <a:off x="2311466" y="2450292"/>
          <a:ext cx="1390096" cy="1209383"/>
        </a:xfrm>
        <a:prstGeom prst="hexagon">
          <a:avLst>
            <a:gd name="adj" fmla="val 25000"/>
            <a:gd name="vf" fmla="val 115470"/>
          </a:avLst>
        </a:prstGeom>
        <a:gradFill rotWithShape="0">
          <a:gsLst>
            <a:gs pos="0">
              <a:schemeClr val="accent3">
                <a:hueOff val="-4492707"/>
                <a:satOff val="0"/>
                <a:lumOff val="896"/>
                <a:alphaOff val="0"/>
                <a:satMod val="103000"/>
                <a:lumMod val="102000"/>
                <a:tint val="94000"/>
              </a:schemeClr>
            </a:gs>
            <a:gs pos="50000">
              <a:schemeClr val="accent3">
                <a:hueOff val="-4492707"/>
                <a:satOff val="0"/>
                <a:lumOff val="896"/>
                <a:alphaOff val="0"/>
                <a:satMod val="110000"/>
                <a:lumMod val="100000"/>
                <a:shade val="100000"/>
              </a:schemeClr>
            </a:gs>
            <a:gs pos="100000">
              <a:schemeClr val="accent3">
                <a:hueOff val="-4492707"/>
                <a:satOff val="0"/>
                <a:lumOff val="89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i="1" kern="1200" dirty="0"/>
            <a:t>Viewpoint-limited or weak visual evidence</a:t>
          </a:r>
          <a:endParaRPr lang="en-US" sz="1200" i="1" kern="1200" dirty="0"/>
        </a:p>
      </dsp:txBody>
      <dsp:txXfrm rot="-5400000">
        <a:off x="2590284" y="2576559"/>
        <a:ext cx="832459" cy="956850"/>
      </dsp:txXfrm>
    </dsp:sp>
    <dsp:sp modelId="{7A831C68-5436-4757-B33D-4CBC72F05BFA}">
      <dsp:nvSpPr>
        <dsp:cNvPr id="0" name=""/>
        <dsp:cNvSpPr/>
      </dsp:nvSpPr>
      <dsp:spPr>
        <a:xfrm>
          <a:off x="3647904" y="2637955"/>
          <a:ext cx="1551347" cy="8340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just" defTabSz="311150">
            <a:lnSpc>
              <a:spcPct val="90000"/>
            </a:lnSpc>
            <a:spcBef>
              <a:spcPct val="0"/>
            </a:spcBef>
            <a:spcAft>
              <a:spcPct val="35000"/>
            </a:spcAft>
            <a:buNone/>
          </a:pPr>
          <a:endParaRPr lang="en-US" sz="700" kern="1200" dirty="0"/>
        </a:p>
      </dsp:txBody>
      <dsp:txXfrm>
        <a:off x="3647904" y="2637955"/>
        <a:ext cx="1551347" cy="834057"/>
      </dsp:txXfrm>
    </dsp:sp>
    <dsp:sp modelId="{3F9B2EC0-214C-4ECD-A8C8-20243778C86A}">
      <dsp:nvSpPr>
        <dsp:cNvPr id="0" name=""/>
        <dsp:cNvSpPr/>
      </dsp:nvSpPr>
      <dsp:spPr>
        <a:xfrm rot="5400000">
          <a:off x="1005332" y="2450292"/>
          <a:ext cx="1390096" cy="1209383"/>
        </a:xfrm>
        <a:prstGeom prst="hexagon">
          <a:avLst>
            <a:gd name="adj" fmla="val 25000"/>
            <a:gd name="vf" fmla="val 115470"/>
          </a:avLst>
        </a:prstGeom>
        <a:gradFill rotWithShape="0">
          <a:gsLst>
            <a:gs pos="0">
              <a:schemeClr val="accent3">
                <a:hueOff val="-5615884"/>
                <a:satOff val="0"/>
                <a:lumOff val="1120"/>
                <a:alphaOff val="0"/>
                <a:satMod val="103000"/>
                <a:lumMod val="102000"/>
                <a:tint val="94000"/>
              </a:schemeClr>
            </a:gs>
            <a:gs pos="50000">
              <a:schemeClr val="accent3">
                <a:hueOff val="-5615884"/>
                <a:satOff val="0"/>
                <a:lumOff val="1120"/>
                <a:alphaOff val="0"/>
                <a:satMod val="110000"/>
                <a:lumMod val="100000"/>
                <a:shade val="100000"/>
              </a:schemeClr>
            </a:gs>
            <a:gs pos="100000">
              <a:schemeClr val="accent3">
                <a:hueOff val="-5615884"/>
                <a:satOff val="0"/>
                <a:lumOff val="112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US" sz="1200" kern="1200" dirty="0"/>
            <a:t>Forward dashcam alone, not reliable </a:t>
          </a:r>
        </a:p>
      </dsp:txBody>
      <dsp:txXfrm rot="-5400000">
        <a:off x="1284150" y="2576559"/>
        <a:ext cx="832459" cy="956850"/>
      </dsp:txXfrm>
    </dsp:sp>
    <dsp:sp modelId="{7E0E997B-5F8A-42C3-B173-04F3C85DDFFF}">
      <dsp:nvSpPr>
        <dsp:cNvPr id="0" name=""/>
        <dsp:cNvSpPr/>
      </dsp:nvSpPr>
      <dsp:spPr>
        <a:xfrm rot="5400000">
          <a:off x="1655897" y="3630206"/>
          <a:ext cx="1390096" cy="1209383"/>
        </a:xfrm>
        <a:prstGeom prst="hexagon">
          <a:avLst>
            <a:gd name="adj" fmla="val 25000"/>
            <a:gd name="vf" fmla="val 115470"/>
          </a:avLst>
        </a:prstGeom>
        <a:gradFill rotWithShape="0">
          <a:gsLst>
            <a:gs pos="0">
              <a:schemeClr val="accent3">
                <a:hueOff val="-6739061"/>
                <a:satOff val="0"/>
                <a:lumOff val="1344"/>
                <a:alphaOff val="0"/>
                <a:satMod val="103000"/>
                <a:lumMod val="102000"/>
                <a:tint val="94000"/>
              </a:schemeClr>
            </a:gs>
            <a:gs pos="50000">
              <a:schemeClr val="accent3">
                <a:hueOff val="-6739061"/>
                <a:satOff val="0"/>
                <a:lumOff val="1344"/>
                <a:alphaOff val="0"/>
                <a:satMod val="110000"/>
                <a:lumMod val="100000"/>
                <a:shade val="100000"/>
              </a:schemeClr>
            </a:gs>
            <a:gs pos="100000">
              <a:schemeClr val="accent3">
                <a:hueOff val="-6739061"/>
                <a:satOff val="0"/>
                <a:lumOff val="1344"/>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i="1" u="none" kern="1200" dirty="0"/>
            <a:t>Human coding variability</a:t>
          </a:r>
          <a:endParaRPr lang="en-US" sz="1200" i="1" u="none" kern="1200" dirty="0"/>
        </a:p>
      </dsp:txBody>
      <dsp:txXfrm rot="-5400000">
        <a:off x="1934715" y="3756473"/>
        <a:ext cx="832459" cy="956850"/>
      </dsp:txXfrm>
    </dsp:sp>
    <dsp:sp modelId="{BE42ECED-DC1C-42E7-B6B0-2FC5FB189FC0}">
      <dsp:nvSpPr>
        <dsp:cNvPr id="0" name=""/>
        <dsp:cNvSpPr/>
      </dsp:nvSpPr>
      <dsp:spPr>
        <a:xfrm>
          <a:off x="194906" y="3817868"/>
          <a:ext cx="1501303" cy="8340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just" defTabSz="311150">
            <a:lnSpc>
              <a:spcPct val="90000"/>
            </a:lnSpc>
            <a:spcBef>
              <a:spcPct val="0"/>
            </a:spcBef>
            <a:spcAft>
              <a:spcPct val="35000"/>
            </a:spcAft>
            <a:buNone/>
          </a:pPr>
          <a:endParaRPr lang="en-US" sz="700" kern="1200" dirty="0"/>
        </a:p>
      </dsp:txBody>
      <dsp:txXfrm>
        <a:off x="194906" y="3817868"/>
        <a:ext cx="1501303" cy="834057"/>
      </dsp:txXfrm>
    </dsp:sp>
    <dsp:sp modelId="{7B39FDF0-F978-4F2D-A13E-07349825134D}">
      <dsp:nvSpPr>
        <dsp:cNvPr id="0" name=""/>
        <dsp:cNvSpPr/>
      </dsp:nvSpPr>
      <dsp:spPr>
        <a:xfrm rot="5400000">
          <a:off x="2962031" y="3630206"/>
          <a:ext cx="1390096" cy="1209383"/>
        </a:xfrm>
        <a:prstGeom prst="hexagon">
          <a:avLst>
            <a:gd name="adj" fmla="val 25000"/>
            <a:gd name="vf" fmla="val 115470"/>
          </a:avLst>
        </a:prstGeom>
        <a:gradFill rotWithShape="0">
          <a:gsLst>
            <a:gs pos="0">
              <a:schemeClr val="accent3">
                <a:hueOff val="-7862238"/>
                <a:satOff val="0"/>
                <a:lumOff val="1568"/>
                <a:alphaOff val="0"/>
                <a:satMod val="103000"/>
                <a:lumMod val="102000"/>
                <a:tint val="94000"/>
              </a:schemeClr>
            </a:gs>
            <a:gs pos="50000">
              <a:schemeClr val="accent3">
                <a:hueOff val="-7862238"/>
                <a:satOff val="0"/>
                <a:lumOff val="1568"/>
                <a:alphaOff val="0"/>
                <a:satMod val="110000"/>
                <a:lumMod val="100000"/>
                <a:shade val="100000"/>
              </a:schemeClr>
            </a:gs>
            <a:gs pos="100000">
              <a:schemeClr val="accent3">
                <a:hueOff val="-7862238"/>
                <a:satOff val="0"/>
                <a:lumOff val="156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tx1"/>
              </a:solidFill>
            </a:rPr>
            <a:t>Propagate into labels and decisions</a:t>
          </a:r>
        </a:p>
      </dsp:txBody>
      <dsp:txXfrm rot="-5400000">
        <a:off x="3240849" y="3756473"/>
        <a:ext cx="832459" cy="956850"/>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F7E9DA3-2CB5-11EF-EFF9-53550FAD18A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GB"/>
          </a:p>
        </p:txBody>
      </p:sp>
      <p:sp>
        <p:nvSpPr>
          <p:cNvPr id="3" name="Date Placeholder 2">
            <a:extLst>
              <a:ext uri="{FF2B5EF4-FFF2-40B4-BE49-F238E27FC236}">
                <a16:creationId xmlns:a16="http://schemas.microsoft.com/office/drawing/2014/main" id="{C96B33E4-12D5-68E0-4670-EDCD8CFF8AD2}"/>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7F59D0FF-486F-4D4D-96C7-26F8B9CB3F9E}" type="datetimeFigureOut">
              <a:rPr lang="en-GB"/>
              <a:pPr>
                <a:defRPr/>
              </a:pPr>
              <a:t>15/04/2026</a:t>
            </a:fld>
            <a:endParaRPr lang="en-GB"/>
          </a:p>
        </p:txBody>
      </p:sp>
      <p:sp>
        <p:nvSpPr>
          <p:cNvPr id="4" name="Slide Image Placeholder 3">
            <a:extLst>
              <a:ext uri="{FF2B5EF4-FFF2-40B4-BE49-F238E27FC236}">
                <a16:creationId xmlns:a16="http://schemas.microsoft.com/office/drawing/2014/main" id="{1B24623F-54FC-8717-B92C-8E4418D16FA5}"/>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a:extLst>
              <a:ext uri="{FF2B5EF4-FFF2-40B4-BE49-F238E27FC236}">
                <a16:creationId xmlns:a16="http://schemas.microsoft.com/office/drawing/2014/main" id="{EE70D205-CCCD-0374-0106-3D9BBF090F12}"/>
              </a:ext>
            </a:extLst>
          </p:cNvPr>
          <p:cNvSpPr>
            <a:spLocks noGrp="1"/>
          </p:cNvSpPr>
          <p:nvPr>
            <p:ph type="body" sz="quarter" idx="3"/>
          </p:nvPr>
        </p:nvSpPr>
        <p:spPr>
          <a:xfrm>
            <a:off x="685800" y="4400550"/>
            <a:ext cx="5486400" cy="3600450"/>
          </a:xfrm>
          <a:prstGeom prst="rect">
            <a:avLst/>
          </a:prstGeom>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6" name="Footer Placeholder 5">
            <a:extLst>
              <a:ext uri="{FF2B5EF4-FFF2-40B4-BE49-F238E27FC236}">
                <a16:creationId xmlns:a16="http://schemas.microsoft.com/office/drawing/2014/main" id="{E6D275E5-D47F-3F55-DFAE-15672EDBC810}"/>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GB"/>
          </a:p>
        </p:txBody>
      </p:sp>
      <p:sp>
        <p:nvSpPr>
          <p:cNvPr id="7" name="Slide Number Placeholder 6">
            <a:extLst>
              <a:ext uri="{FF2B5EF4-FFF2-40B4-BE49-F238E27FC236}">
                <a16:creationId xmlns:a16="http://schemas.microsoft.com/office/drawing/2014/main" id="{62EC6831-25D3-835E-9EEA-DB5DE3312005}"/>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0F19A90F-0F4C-40B8-A835-4A5F12EB5FD7}" type="slidenum">
              <a:rPr lang="en-GB"/>
              <a:pPr>
                <a:defRPr/>
              </a:pPr>
              <a:t>‹#›</a:t>
            </a:fld>
            <a:endParaRPr lang="en-GB"/>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en.wikipedia.org/wiki/Engineer"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en.wikipedia.org/wiki/Society"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en.wikipedia.org/wiki/Ethics_of_technology#cite_note-2"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en.wikipedia.org/wiki/Ethics_of_technology#cite_note-3"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Copyright </a:t>
            </a:r>
            <a:r>
              <a:rPr lang="en-US" b="1"/>
              <a:t>PresentationGO.com</a:t>
            </a:r>
            <a:r>
              <a:rPr lang="en-US"/>
              <a:t> – The free PowerPoint template library</a:t>
            </a:r>
          </a:p>
        </p:txBody>
      </p:sp>
      <p:sp>
        <p:nvSpPr>
          <p:cNvPr id="4" name="Slide Number Placeholder 3"/>
          <p:cNvSpPr>
            <a:spLocks noGrp="1"/>
          </p:cNvSpPr>
          <p:nvPr>
            <p:ph type="sldNum" sz="quarter" idx="10"/>
          </p:nvPr>
        </p:nvSpPr>
        <p:spPr/>
        <p:txBody>
          <a:bodyPr/>
          <a:lstStyle/>
          <a:p>
            <a:fld id="{B68D2766-C49B-4C1A-9FEE-6F146754B02B}" type="slidenum">
              <a:rPr lang="en-US" smtClean="0"/>
              <a:t>2</a:t>
            </a:fld>
            <a:endParaRPr lang="en-US"/>
          </a:p>
        </p:txBody>
      </p:sp>
    </p:spTree>
    <p:extLst>
      <p:ext uri="{BB962C8B-B14F-4D97-AF65-F5344CB8AC3E}">
        <p14:creationId xmlns:p14="http://schemas.microsoft.com/office/powerpoint/2010/main" val="38446014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0F19A90F-0F4C-40B8-A835-4A5F12EB5FD7}" type="slidenum">
              <a:rPr lang="en-GB" smtClean="0"/>
              <a:pPr>
                <a:defRPr/>
              </a:pPr>
              <a:t>16</a:t>
            </a:fld>
            <a:endParaRPr lang="en-GB"/>
          </a:p>
        </p:txBody>
      </p:sp>
    </p:spTree>
    <p:extLst>
      <p:ext uri="{BB962C8B-B14F-4D97-AF65-F5344CB8AC3E}">
        <p14:creationId xmlns:p14="http://schemas.microsoft.com/office/powerpoint/2010/main" val="31282720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kern="1200" dirty="0">
                <a:solidFill>
                  <a:schemeClr val="tx1"/>
                </a:solidFill>
                <a:effectLst/>
                <a:latin typeface="+mn-lt"/>
                <a:ea typeface="+mn-ea"/>
                <a:cs typeface="+mn-cs"/>
              </a:rPr>
              <a:t>In this setting, the issue is not only prediction difficulty or accuracy, but whether a prediction can be reviewed and justified when labels are segment-based, rule-defined, visually weak, or potentially ambiguous.</a:t>
            </a:r>
            <a:endParaRPr lang="nl-NL" dirty="0"/>
          </a:p>
          <a:p>
            <a:endParaRPr lang="en-US" dirty="0"/>
          </a:p>
        </p:txBody>
      </p:sp>
      <p:sp>
        <p:nvSpPr>
          <p:cNvPr id="4" name="Slide Number Placeholder 3"/>
          <p:cNvSpPr>
            <a:spLocks noGrp="1"/>
          </p:cNvSpPr>
          <p:nvPr>
            <p:ph type="sldNum" sz="quarter" idx="5"/>
          </p:nvPr>
        </p:nvSpPr>
        <p:spPr/>
        <p:txBody>
          <a:bodyPr/>
          <a:lstStyle/>
          <a:p>
            <a:pPr>
              <a:defRPr/>
            </a:pPr>
            <a:fld id="{0F19A90F-0F4C-40B8-A835-4A5F12EB5FD7}" type="slidenum">
              <a:rPr lang="en-GB" smtClean="0"/>
              <a:pPr>
                <a:defRPr/>
              </a:pPr>
              <a:t>17</a:t>
            </a:fld>
            <a:endParaRPr lang="en-GB"/>
          </a:p>
        </p:txBody>
      </p:sp>
    </p:spTree>
    <p:extLst>
      <p:ext uri="{BB962C8B-B14F-4D97-AF65-F5344CB8AC3E}">
        <p14:creationId xmlns:p14="http://schemas.microsoft.com/office/powerpoint/2010/main" val="26012055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D2C62C-5274-CF9C-AA42-CB2CDB8537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C44726-880D-6715-1975-1448F2C087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EC0A79-F04E-EB54-3E85-D8E4921CBFD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4C806EA-0F6F-F678-E6E2-25AA2FF9AED8}"/>
              </a:ext>
            </a:extLst>
          </p:cNvPr>
          <p:cNvSpPr>
            <a:spLocks noGrp="1"/>
          </p:cNvSpPr>
          <p:nvPr>
            <p:ph type="sldNum" sz="quarter" idx="5"/>
          </p:nvPr>
        </p:nvSpPr>
        <p:spPr/>
        <p:txBody>
          <a:bodyPr/>
          <a:lstStyle/>
          <a:p>
            <a:pPr>
              <a:defRPr/>
            </a:pPr>
            <a:fld id="{0F19A90F-0F4C-40B8-A835-4A5F12EB5FD7}" type="slidenum">
              <a:rPr lang="en-GB" smtClean="0"/>
              <a:pPr>
                <a:defRPr/>
              </a:pPr>
              <a:t>21</a:t>
            </a:fld>
            <a:endParaRPr lang="en-GB"/>
          </a:p>
        </p:txBody>
      </p:sp>
    </p:spTree>
    <p:extLst>
      <p:ext uri="{BB962C8B-B14F-4D97-AF65-F5344CB8AC3E}">
        <p14:creationId xmlns:p14="http://schemas.microsoft.com/office/powerpoint/2010/main" val="37153241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ly an instrument for states and companies</a:t>
            </a:r>
          </a:p>
          <a:p>
            <a:r>
              <a:rPr lang="en-US" dirty="0"/>
              <a:t>A technical employee</a:t>
            </a:r>
          </a:p>
          <a:p>
            <a:r>
              <a:rPr lang="en-US" dirty="0"/>
              <a:t>With ethics </a:t>
            </a:r>
            <a:r>
              <a:rPr lang="en-US" sz="1200" b="0" i="0" kern="1200" dirty="0">
                <a:solidFill>
                  <a:schemeClr val="tx1"/>
                </a:solidFill>
                <a:effectLst/>
                <a:latin typeface="+mn-lt"/>
                <a:ea typeface="+mn-ea"/>
                <a:cs typeface="+mn-cs"/>
              </a:rPr>
              <a:t>as a personal rather than a broad professional concerns</a:t>
            </a:r>
            <a:endParaRPr lang="en-US" dirty="0"/>
          </a:p>
          <a:p>
            <a:endParaRPr lang="en-US" dirty="0"/>
          </a:p>
          <a:p>
            <a:r>
              <a:rPr lang="en-US" dirty="0"/>
              <a:t>Or it is beyond a profession and is a mission </a:t>
            </a:r>
          </a:p>
          <a:p>
            <a:r>
              <a:rPr lang="en-US" sz="1200" kern="1200" dirty="0">
                <a:solidFill>
                  <a:schemeClr val="tx1"/>
                </a:solidFill>
                <a:effectLst/>
                <a:latin typeface="+mn-lt"/>
                <a:ea typeface="+mn-ea"/>
                <a:cs typeface="+mn-cs"/>
              </a:rPr>
              <a:t>And engineers precisely because of their technical knowledge have a responsibility to the society</a:t>
            </a:r>
          </a:p>
          <a:p>
            <a:r>
              <a:rPr lang="en-US" sz="1200" kern="1200" dirty="0">
                <a:solidFill>
                  <a:schemeClr val="tx1"/>
                </a:solidFill>
                <a:effectLst/>
                <a:latin typeface="+mn-lt"/>
                <a:ea typeface="+mn-ea"/>
                <a:cs typeface="+mn-cs"/>
              </a:rPr>
              <a:t>carries a social obligation - </a:t>
            </a:r>
            <a:r>
              <a:rPr lang="en-US" sz="1200" b="0" i="0" kern="1200" dirty="0">
                <a:solidFill>
                  <a:schemeClr val="tx1"/>
                </a:solidFill>
                <a:effectLst/>
                <a:latin typeface="+mn-lt"/>
                <a:ea typeface="+mn-ea"/>
                <a:cs typeface="+mn-cs"/>
              </a:rPr>
              <a:t>obligations of </a:t>
            </a:r>
            <a:r>
              <a:rPr lang="en-US" sz="1200" b="0" i="0" u="none" strike="noStrike" kern="1200" dirty="0">
                <a:solidFill>
                  <a:schemeClr val="tx1"/>
                </a:solidFill>
                <a:effectLst/>
                <a:latin typeface="+mn-lt"/>
                <a:ea typeface="+mn-ea"/>
                <a:cs typeface="+mn-cs"/>
                <a:hlinkClick r:id="rId3" tooltip="Engineer"/>
              </a:rPr>
              <a:t>engineers</a:t>
            </a:r>
            <a:r>
              <a:rPr lang="en-US" sz="1200" b="0" i="0" kern="1200" dirty="0">
                <a:solidFill>
                  <a:schemeClr val="tx1"/>
                </a:solidFill>
                <a:effectLst/>
                <a:latin typeface="+mn-lt"/>
                <a:ea typeface="+mn-ea"/>
                <a:cs typeface="+mn-cs"/>
              </a:rPr>
              <a:t> to </a:t>
            </a:r>
            <a:r>
              <a:rPr lang="en-US" sz="1200" b="0" i="0" u="none" strike="noStrike" kern="1200" dirty="0">
                <a:solidFill>
                  <a:schemeClr val="tx1"/>
                </a:solidFill>
                <a:effectLst/>
                <a:latin typeface="+mn-lt"/>
                <a:ea typeface="+mn-ea"/>
                <a:cs typeface="+mn-cs"/>
                <a:hlinkClick r:id="rId4" tooltip="Society"/>
              </a:rPr>
              <a:t>society</a:t>
            </a:r>
            <a:r>
              <a:rPr lang="en-US" sz="1200" b="0" i="0" kern="1200" dirty="0">
                <a:solidFill>
                  <a:schemeClr val="tx1"/>
                </a:solidFill>
                <a:effectLst/>
                <a:latin typeface="+mn-lt"/>
                <a:ea typeface="+mn-ea"/>
                <a:cs typeface="+mn-cs"/>
              </a:rPr>
              <a:t>, to their clients, and to the profession</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specially with their ever-increasing role in management, consultancy</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ot in service of profit of states (for colonial expansion) or compani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 choice between being practical or being socially engage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xpose engineers to broader intellectual question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t>
            </a:r>
          </a:p>
          <a:p>
            <a:r>
              <a:rPr lang="en-US" sz="1200" kern="1200" dirty="0">
                <a:solidFill>
                  <a:schemeClr val="tx1"/>
                </a:solidFill>
                <a:effectLst/>
                <a:latin typeface="+mn-lt"/>
                <a:ea typeface="+mn-ea"/>
                <a:cs typeface="+mn-cs"/>
              </a:rPr>
              <a:t>First codes of ethics in engineering were for technical reliability</a:t>
            </a:r>
          </a:p>
          <a:p>
            <a:endParaRPr lang="en-US" sz="120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engineers recognize that the greatest merit is the work and exercise their profession committed to serving society, attending to the welfare and progress of the majority. By transforming nature for the benefit of mankind, engineers must increase their awareness of the world as the abode of humanity, their interest in the universe as a guarantee of overcoming their spirit, and knowledge of reality to make the world fairer and happier. The engineer should reject any paper that is intended to harm the general interest, thus avoiding a situation that might be hazardous or threatening to the environment, life, health, or other rights of human beings.</a:t>
            </a:r>
            <a:endParaRPr lang="en-US" dirty="0"/>
          </a:p>
        </p:txBody>
      </p:sp>
      <p:sp>
        <p:nvSpPr>
          <p:cNvPr id="4" name="Slide Number Placeholder 3"/>
          <p:cNvSpPr>
            <a:spLocks noGrp="1"/>
          </p:cNvSpPr>
          <p:nvPr>
            <p:ph type="sldNum" sz="quarter" idx="5"/>
          </p:nvPr>
        </p:nvSpPr>
        <p:spPr/>
        <p:txBody>
          <a:bodyPr/>
          <a:lstStyle/>
          <a:p>
            <a:pPr>
              <a:defRPr/>
            </a:pPr>
            <a:fld id="{0F19A90F-0F4C-40B8-A835-4A5F12EB5FD7}" type="slidenum">
              <a:rPr lang="en-GB" smtClean="0"/>
              <a:pPr>
                <a:defRPr/>
              </a:pPr>
              <a:t>3</a:t>
            </a:fld>
            <a:endParaRPr lang="en-GB"/>
          </a:p>
        </p:txBody>
      </p:sp>
    </p:spTree>
    <p:extLst>
      <p:ext uri="{BB962C8B-B14F-4D97-AF65-F5344CB8AC3E}">
        <p14:creationId xmlns:p14="http://schemas.microsoft.com/office/powerpoint/2010/main" val="11567014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ngineers shall, in all matters related to their profession, treat all persons fairly regardless of gender,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imple technical mis-calculations, failure of the design process</a:t>
            </a:r>
          </a:p>
          <a:p>
            <a:r>
              <a:rPr lang="en-US" sz="1200" b="0" i="0" kern="1200" dirty="0">
                <a:solidFill>
                  <a:schemeClr val="tx1"/>
                </a:solidFill>
                <a:effectLst/>
                <a:latin typeface="+mn-lt"/>
                <a:ea typeface="+mn-ea"/>
                <a:cs typeface="+mn-cs"/>
              </a:rPr>
              <a:t>But also vulnerability to hostile intent regardless of project specification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echnology ethics is the application of ethical thinking to growing concerns as new technologies continue to rise in prominenc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iscovering the ethical uses for technology, protecting against the misuse of technology,</a:t>
            </a:r>
            <a:r>
              <a:rPr lang="en-US" sz="1200" b="0" i="0" u="none" strike="noStrike" kern="1200" baseline="30000" dirty="0">
                <a:solidFill>
                  <a:schemeClr val="tx1"/>
                </a:solidFill>
                <a:effectLst/>
                <a:latin typeface="+mn-lt"/>
                <a:ea typeface="+mn-ea"/>
                <a:cs typeface="+mn-cs"/>
                <a:hlinkClick r:id="rId3"/>
              </a:rPr>
              <a:t>[2]</a:t>
            </a:r>
            <a:r>
              <a:rPr lang="en-US" sz="1200" b="0" i="0" u="none" strike="noStrike" kern="1200" baseline="30000" dirty="0">
                <a:solidFill>
                  <a:schemeClr val="tx1"/>
                </a:solidFill>
                <a:effectLst/>
                <a:latin typeface="+mn-lt"/>
                <a:ea typeface="+mn-ea"/>
                <a:cs typeface="+mn-cs"/>
                <a:hlinkClick r:id="rId4"/>
              </a:rPr>
              <a:t>[3]</a:t>
            </a:r>
            <a:r>
              <a:rPr lang="en-US" sz="1200" b="0" i="0" kern="1200" dirty="0">
                <a:solidFill>
                  <a:schemeClr val="tx1"/>
                </a:solidFill>
                <a:effectLst/>
                <a:latin typeface="+mn-lt"/>
                <a:ea typeface="+mn-ea"/>
                <a:cs typeface="+mn-cs"/>
              </a:rPr>
              <a:t> and devising common principles to guide new advances in technological development and application to benefit society.</a:t>
            </a:r>
          </a:p>
          <a:p>
            <a:r>
              <a:rPr lang="en-US" sz="1200" b="0" i="0" kern="1200" dirty="0">
                <a:solidFill>
                  <a:schemeClr val="tx1"/>
                </a:solidFill>
                <a:effectLst/>
                <a:latin typeface="+mn-lt"/>
                <a:ea typeface="+mn-ea"/>
                <a:cs typeface="+mn-cs"/>
              </a:rPr>
              <a:t>as technology advances in areas unseen by creators and as users change the intended uses of new technologi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hile provide </a:t>
            </a:r>
            <a:r>
              <a:rPr lang="en-US" sz="1200" b="0" i="0" kern="1200" dirty="0" err="1">
                <a:solidFill>
                  <a:schemeClr val="tx1"/>
                </a:solidFill>
                <a:effectLst/>
                <a:latin typeface="+mn-lt"/>
                <a:ea typeface="+mn-ea"/>
                <a:cs typeface="+mn-cs"/>
              </a:rPr>
              <a:t>opportunitities</a:t>
            </a:r>
            <a:r>
              <a:rPr lang="en-US" sz="1200" b="0" i="0" kern="1200" dirty="0">
                <a:solidFill>
                  <a:schemeClr val="tx1"/>
                </a:solidFill>
                <a:effectLst/>
                <a:latin typeface="+mn-lt"/>
                <a:ea typeface="+mn-ea"/>
                <a:cs typeface="+mn-cs"/>
              </a:rPr>
              <a:t>, they bring about new ethical challeng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ethics involved in the development of new technology—whether it is always, never, or contextually right or wrong to invent and implement a technological innovation.</a:t>
            </a:r>
          </a:p>
          <a:p>
            <a:r>
              <a:rPr lang="en-US" sz="1200" b="0" i="0" kern="1200" dirty="0">
                <a:solidFill>
                  <a:schemeClr val="tx1"/>
                </a:solidFill>
                <a:effectLst/>
                <a:latin typeface="+mn-lt"/>
                <a:ea typeface="+mn-ea"/>
                <a:cs typeface="+mn-cs"/>
              </a:rPr>
              <a:t>The ethical questions that are exacerbated by the ways in which technology extends or curtails the power of individuals—how standard ethical questions are changed by the new powers.</a:t>
            </a:r>
          </a:p>
          <a:p>
            <a:endParaRPr lang="en-US"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t>Question the unintended impact of technology, on human values</a:t>
            </a:r>
          </a:p>
          <a:p>
            <a:endParaRPr lang="en-US" dirty="0"/>
          </a:p>
        </p:txBody>
      </p:sp>
      <p:sp>
        <p:nvSpPr>
          <p:cNvPr id="4" name="Slide Number Placeholder 3"/>
          <p:cNvSpPr>
            <a:spLocks noGrp="1"/>
          </p:cNvSpPr>
          <p:nvPr>
            <p:ph type="sldNum" sz="quarter" idx="5"/>
          </p:nvPr>
        </p:nvSpPr>
        <p:spPr/>
        <p:txBody>
          <a:bodyPr/>
          <a:lstStyle/>
          <a:p>
            <a:pPr>
              <a:defRPr/>
            </a:pPr>
            <a:fld id="{0F19A90F-0F4C-40B8-A835-4A5F12EB5FD7}" type="slidenum">
              <a:rPr lang="en-GB" smtClean="0"/>
              <a:pPr>
                <a:defRPr/>
              </a:pPr>
              <a:t>4</a:t>
            </a:fld>
            <a:endParaRPr lang="en-GB"/>
          </a:p>
        </p:txBody>
      </p:sp>
    </p:spTree>
    <p:extLst>
      <p:ext uri="{BB962C8B-B14F-4D97-AF65-F5344CB8AC3E}">
        <p14:creationId xmlns:p14="http://schemas.microsoft.com/office/powerpoint/2010/main" val="1699475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nl-NL" b="0" err="1">
                <a:highlight>
                  <a:srgbClr val="FFFF00"/>
                </a:highlight>
              </a:rPr>
              <a:t>Maybe</a:t>
            </a:r>
            <a:r>
              <a:rPr lang="nl-NL" b="0">
                <a:highlight>
                  <a:srgbClr val="FFFF00"/>
                </a:highlight>
              </a:rPr>
              <a:t> </a:t>
            </a:r>
            <a:r>
              <a:rPr lang="nl-NL" b="0" err="1">
                <a:highlight>
                  <a:srgbClr val="FFFF00"/>
                </a:highlight>
              </a:rPr>
              <a:t>adding</a:t>
            </a:r>
            <a:r>
              <a:rPr lang="nl-NL" b="0">
                <a:highlight>
                  <a:srgbClr val="FFFF00"/>
                </a:highlight>
              </a:rPr>
              <a:t> </a:t>
            </a:r>
            <a:r>
              <a:rPr lang="nl-NL" b="0" err="1">
                <a:highlight>
                  <a:srgbClr val="FFFF00"/>
                </a:highlight>
              </a:rPr>
              <a:t>that</a:t>
            </a:r>
            <a:r>
              <a:rPr lang="nl-NL" b="0">
                <a:highlight>
                  <a:srgbClr val="FFFF00"/>
                </a:highlight>
              </a:rPr>
              <a:t> </a:t>
            </a:r>
            <a:r>
              <a:rPr lang="nl-NL" b="0" err="1">
                <a:highlight>
                  <a:srgbClr val="FFFF00"/>
                </a:highlight>
              </a:rPr>
              <a:t>it</a:t>
            </a:r>
            <a:r>
              <a:rPr lang="nl-NL" b="0">
                <a:highlight>
                  <a:srgbClr val="FFFF00"/>
                </a:highlight>
              </a:rPr>
              <a:t> is a </a:t>
            </a:r>
            <a:r>
              <a:rPr lang="nl-NL" b="0" err="1">
                <a:highlight>
                  <a:srgbClr val="FFFF00"/>
                </a:highlight>
              </a:rPr>
              <a:t>risky</a:t>
            </a:r>
            <a:r>
              <a:rPr lang="nl-NL" b="0">
                <a:highlight>
                  <a:srgbClr val="FFFF00"/>
                </a:highlight>
              </a:rPr>
              <a:t>/</a:t>
            </a:r>
            <a:r>
              <a:rPr lang="nl-NL" b="0" err="1">
                <a:highlight>
                  <a:srgbClr val="FFFF00"/>
                </a:highlight>
              </a:rPr>
              <a:t>sensetive</a:t>
            </a:r>
            <a:r>
              <a:rPr lang="nl-NL" b="0">
                <a:highlight>
                  <a:srgbClr val="FFFF00"/>
                </a:highlight>
              </a:rPr>
              <a:t> </a:t>
            </a:r>
            <a:r>
              <a:rPr lang="nl-NL" b="0" err="1">
                <a:highlight>
                  <a:srgbClr val="FFFF00"/>
                </a:highlight>
              </a:rPr>
              <a:t>environemt</a:t>
            </a:r>
            <a:r>
              <a:rPr lang="nl-NL" b="0">
                <a:highlight>
                  <a:srgbClr val="FFFF00"/>
                </a:highlight>
              </a:rPr>
              <a:t> </a:t>
            </a:r>
            <a:r>
              <a:rPr lang="nl-NL" b="0" err="1">
                <a:highlight>
                  <a:srgbClr val="FFFF00"/>
                </a:highlight>
              </a:rPr>
              <a:t>with</a:t>
            </a:r>
            <a:r>
              <a:rPr lang="nl-NL" b="0">
                <a:highlight>
                  <a:srgbClr val="FFFF00"/>
                </a:highlight>
              </a:rPr>
              <a:t> </a:t>
            </a:r>
            <a:r>
              <a:rPr lang="nl-NL" b="0" err="1">
                <a:highlight>
                  <a:srgbClr val="FFFF00"/>
                </a:highlight>
              </a:rPr>
              <a:t>possibilites</a:t>
            </a:r>
            <a:r>
              <a:rPr lang="nl-NL" b="0">
                <a:highlight>
                  <a:srgbClr val="FFFF00"/>
                </a:highlight>
              </a:rPr>
              <a:t> </a:t>
            </a:r>
            <a:r>
              <a:rPr lang="nl-NL" b="0" err="1">
                <a:highlight>
                  <a:srgbClr val="FFFF00"/>
                </a:highlight>
              </a:rPr>
              <a:t>for</a:t>
            </a:r>
            <a:r>
              <a:rPr lang="nl-NL" b="0">
                <a:highlight>
                  <a:srgbClr val="FFFF00"/>
                </a:highlight>
              </a:rPr>
              <a:t> </a:t>
            </a:r>
            <a:r>
              <a:rPr lang="nl-NL" b="0" err="1">
                <a:highlight>
                  <a:srgbClr val="FFFF00"/>
                </a:highlight>
              </a:rPr>
              <a:t>damage</a:t>
            </a:r>
            <a:r>
              <a:rPr lang="nl-NL" b="0">
                <a:highlight>
                  <a:srgbClr val="FFFF00"/>
                </a:highlight>
              </a:rPr>
              <a:t> </a:t>
            </a:r>
            <a:r>
              <a:rPr lang="nl-NL" b="0" err="1">
                <a:highlight>
                  <a:srgbClr val="FFFF00"/>
                </a:highlight>
              </a:rPr>
              <a:t>and</a:t>
            </a:r>
            <a:r>
              <a:rPr lang="nl-NL" b="0">
                <a:highlight>
                  <a:srgbClr val="FFFF00"/>
                </a:highlight>
              </a:rPr>
              <a:t> </a:t>
            </a:r>
            <a:r>
              <a:rPr lang="nl-NL" b="0" err="1">
                <a:highlight>
                  <a:srgbClr val="FFFF00"/>
                </a:highlight>
              </a:rPr>
              <a:t>need</a:t>
            </a:r>
            <a:r>
              <a:rPr lang="nl-NL" b="0">
                <a:highlight>
                  <a:srgbClr val="FFFF00"/>
                </a:highlight>
              </a:rPr>
              <a:t> </a:t>
            </a:r>
            <a:r>
              <a:rPr lang="nl-NL" b="0" err="1">
                <a:highlight>
                  <a:srgbClr val="FFFF00"/>
                </a:highlight>
              </a:rPr>
              <a:t>to</a:t>
            </a:r>
            <a:r>
              <a:rPr lang="nl-NL" b="0">
                <a:highlight>
                  <a:srgbClr val="FFFF00"/>
                </a:highlight>
              </a:rPr>
              <a:t> </a:t>
            </a:r>
            <a:r>
              <a:rPr lang="nl-NL" b="0" err="1">
                <a:highlight>
                  <a:srgbClr val="FFFF00"/>
                </a:highlight>
              </a:rPr>
              <a:t>compensation</a:t>
            </a:r>
            <a:endParaRPr lang="nl-NL" b="0">
              <a:highlight>
                <a:srgbClr val="FFFF00"/>
              </a:highlight>
            </a:endParaRPr>
          </a:p>
          <a:p>
            <a:r>
              <a:rPr lang="nl-NL"/>
              <a:t>In order </a:t>
            </a:r>
            <a:r>
              <a:rPr lang="nl-NL" err="1"/>
              <a:t>to</a:t>
            </a:r>
            <a:r>
              <a:rPr lang="nl-NL"/>
              <a:t> </a:t>
            </a:r>
            <a:r>
              <a:rPr lang="nl-NL" err="1"/>
              <a:t>function</a:t>
            </a:r>
            <a:r>
              <a:rPr lang="nl-NL"/>
              <a:t>, </a:t>
            </a:r>
            <a:r>
              <a:rPr lang="nl-NL" err="1"/>
              <a:t>and</a:t>
            </a:r>
            <a:r>
              <a:rPr lang="nl-NL"/>
              <a:t> </a:t>
            </a:r>
            <a:r>
              <a:rPr lang="nl-NL" err="1"/>
              <a:t>they</a:t>
            </a:r>
            <a:r>
              <a:rPr lang="nl-NL"/>
              <a:t> </a:t>
            </a:r>
            <a:r>
              <a:rPr lang="nl-NL" err="1"/>
              <a:t>contribute</a:t>
            </a:r>
            <a:r>
              <a:rPr lang="nl-NL"/>
              <a:t> </a:t>
            </a:r>
            <a:r>
              <a:rPr lang="nl-NL" err="1"/>
              <a:t>to</a:t>
            </a:r>
            <a:r>
              <a:rPr lang="nl-NL"/>
              <a:t> </a:t>
            </a:r>
            <a:r>
              <a:rPr lang="nl-NL" err="1"/>
              <a:t>the</a:t>
            </a:r>
            <a:r>
              <a:rPr lang="nl-NL"/>
              <a:t> systems’ </a:t>
            </a:r>
            <a:r>
              <a:rPr lang="nl-NL" err="1"/>
              <a:t>qualities</a:t>
            </a:r>
            <a:r>
              <a:rPr lang="nl-NL"/>
              <a:t> </a:t>
            </a:r>
            <a:r>
              <a:rPr lang="nl-NL" err="1"/>
              <a:t>and</a:t>
            </a:r>
            <a:r>
              <a:rPr lang="nl-NL"/>
              <a:t> </a:t>
            </a:r>
            <a:r>
              <a:rPr lang="nl-NL" err="1"/>
              <a:t>characteristics</a:t>
            </a:r>
            <a:r>
              <a:rPr lang="nl-NL"/>
              <a:t>, </a:t>
            </a:r>
            <a:r>
              <a:rPr lang="nl-NL" err="1"/>
              <a:t>how</a:t>
            </a:r>
            <a:r>
              <a:rPr lang="nl-NL"/>
              <a:t> </a:t>
            </a:r>
            <a:r>
              <a:rPr lang="nl-NL" err="1"/>
              <a:t>effiecint</a:t>
            </a:r>
            <a:r>
              <a:rPr lang="nl-NL"/>
              <a:t>, </a:t>
            </a:r>
            <a:r>
              <a:rPr lang="nl-NL" err="1"/>
              <a:t>sustainable</a:t>
            </a:r>
            <a:r>
              <a:rPr lang="nl-NL"/>
              <a:t>, safe </a:t>
            </a:r>
            <a:r>
              <a:rPr lang="nl-NL" err="1"/>
              <a:t>it</a:t>
            </a:r>
            <a:r>
              <a:rPr lang="nl-NL"/>
              <a:t> is.. </a:t>
            </a:r>
          </a:p>
          <a:p>
            <a:endParaRPr lang="nl-NL"/>
          </a:p>
          <a:p>
            <a:r>
              <a:rPr lang="nl-NL"/>
              <a:t>How </a:t>
            </a:r>
            <a:r>
              <a:rPr lang="nl-NL" err="1"/>
              <a:t>the</a:t>
            </a:r>
            <a:r>
              <a:rPr lang="nl-NL"/>
              <a:t> system </a:t>
            </a:r>
            <a:r>
              <a:rPr lang="nl-NL" err="1"/>
              <a:t>works</a:t>
            </a:r>
            <a:r>
              <a:rPr lang="nl-NL"/>
              <a:t>, </a:t>
            </a:r>
            <a:r>
              <a:rPr lang="nl-NL" err="1"/>
              <a:t>what</a:t>
            </a:r>
            <a:r>
              <a:rPr lang="nl-NL"/>
              <a:t> are </a:t>
            </a:r>
            <a:r>
              <a:rPr lang="nl-NL" err="1"/>
              <a:t>its</a:t>
            </a:r>
            <a:r>
              <a:rPr lang="nl-NL"/>
              <a:t> </a:t>
            </a:r>
            <a:r>
              <a:rPr lang="nl-NL" err="1"/>
              <a:t>limitations</a:t>
            </a:r>
            <a:r>
              <a:rPr lang="nl-NL"/>
              <a:t>, </a:t>
            </a:r>
            <a:r>
              <a:rPr lang="nl-NL" err="1"/>
              <a:t>how</a:t>
            </a:r>
            <a:r>
              <a:rPr lang="nl-NL"/>
              <a:t> </a:t>
            </a:r>
            <a:r>
              <a:rPr lang="nl-NL" err="1"/>
              <a:t>it</a:t>
            </a:r>
            <a:r>
              <a:rPr lang="nl-NL"/>
              <a:t> </a:t>
            </a:r>
            <a:r>
              <a:rPr lang="nl-NL" err="1"/>
              <a:t>can</a:t>
            </a:r>
            <a:r>
              <a:rPr lang="nl-NL"/>
              <a:t> change </a:t>
            </a:r>
            <a:r>
              <a:rPr lang="nl-NL" err="1"/>
              <a:t>their</a:t>
            </a:r>
            <a:r>
              <a:rPr lang="nl-NL"/>
              <a:t> </a:t>
            </a:r>
            <a:r>
              <a:rPr lang="nl-NL" err="1"/>
              <a:t>habits</a:t>
            </a:r>
            <a:r>
              <a:rPr lang="nl-NL"/>
              <a:t> </a:t>
            </a:r>
            <a:r>
              <a:rPr lang="nl-NL" err="1"/>
              <a:t>and</a:t>
            </a:r>
            <a:r>
              <a:rPr lang="nl-NL"/>
              <a:t> </a:t>
            </a:r>
            <a:r>
              <a:rPr lang="nl-NL" err="1"/>
              <a:t>mental</a:t>
            </a:r>
            <a:r>
              <a:rPr lang="nl-NL"/>
              <a:t> </a:t>
            </a:r>
            <a:r>
              <a:rPr lang="nl-NL" err="1"/>
              <a:t>faculties</a:t>
            </a:r>
            <a:r>
              <a:rPr lang="nl-NL"/>
              <a:t>, ... </a:t>
            </a:r>
          </a:p>
          <a:p>
            <a:endParaRPr lang="nl-NL"/>
          </a:p>
          <a:p>
            <a:pPr marL="0" marR="0" lvl="0" indent="0" algn="l" defTabSz="914400" rtl="0" eaLnBrk="1" fontAlgn="base" latinLnBrk="0" hangingPunct="1">
              <a:lnSpc>
                <a:spcPct val="100000"/>
              </a:lnSpc>
              <a:spcBef>
                <a:spcPct val="30000"/>
              </a:spcBef>
              <a:spcAft>
                <a:spcPct val="0"/>
              </a:spcAft>
              <a:buClrTx/>
              <a:buSzTx/>
              <a:buFontTx/>
              <a:buNone/>
              <a:tabLst/>
              <a:defRPr/>
            </a:pPr>
            <a:r>
              <a:rPr lang="en-US" b="1">
                <a:solidFill>
                  <a:schemeClr val="bg1"/>
                </a:solidFill>
                <a:cs typeface="Arial" panose="020B0604020202020204" pitchFamily="34" charset="0"/>
              </a:rPr>
              <a:t>Disturb </a:t>
            </a:r>
            <a:r>
              <a:rPr lang="en-US">
                <a:solidFill>
                  <a:schemeClr val="bg1"/>
                </a:solidFill>
                <a:cs typeface="Arial" panose="020B0604020202020204" pitchFamily="34" charset="0"/>
              </a:rPr>
              <a:t>individuals’ mental faculties </a:t>
            </a:r>
            <a:endParaRPr lang="en-GB">
              <a:solidFill>
                <a:schemeClr val="bg1"/>
              </a:solidFill>
              <a:cs typeface="Arial" panose="020B0604020202020204"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b="1">
                <a:solidFill>
                  <a:schemeClr val="bg1"/>
                </a:solidFill>
                <a:cs typeface="Arial" panose="020B0604020202020204" pitchFamily="34" charset="0"/>
              </a:rPr>
              <a:t>Change</a:t>
            </a:r>
            <a:r>
              <a:rPr lang="en-US">
                <a:solidFill>
                  <a:schemeClr val="bg1"/>
                </a:solidFill>
                <a:cs typeface="Arial" panose="020B0604020202020204" pitchFamily="34" charset="0"/>
              </a:rPr>
              <a:t> humans’ </a:t>
            </a:r>
            <a:r>
              <a:rPr lang="en-US" b="1">
                <a:solidFill>
                  <a:schemeClr val="bg1"/>
                </a:solidFill>
                <a:cs typeface="Arial" panose="020B0604020202020204" pitchFamily="34" charset="0"/>
              </a:rPr>
              <a:t>judgment</a:t>
            </a:r>
            <a:r>
              <a:rPr lang="en-US">
                <a:solidFill>
                  <a:schemeClr val="bg1"/>
                </a:solidFill>
                <a:cs typeface="Arial" panose="020B0604020202020204" pitchFamily="34" charset="0"/>
              </a:rPr>
              <a:t> about the wrongness of their (in)action</a:t>
            </a:r>
            <a:endParaRPr lang="en-GB">
              <a:solidFill>
                <a:schemeClr val="bg1"/>
              </a:solidFill>
              <a:cs typeface="Arial" panose="020B0604020202020204" pitchFamily="34" charset="0"/>
            </a:endParaRPr>
          </a:p>
          <a:p>
            <a:endParaRPr lang="nl-NL"/>
          </a:p>
          <a:p>
            <a:endParaRPr lang="nl-NL"/>
          </a:p>
          <a:p>
            <a:endParaRPr lang="nl-NL"/>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5</a:t>
            </a:fld>
            <a:endParaRPr lang="nl-NL"/>
          </a:p>
        </p:txBody>
      </p:sp>
    </p:spTree>
    <p:extLst>
      <p:ext uri="{BB962C8B-B14F-4D97-AF65-F5344CB8AC3E}">
        <p14:creationId xmlns:p14="http://schemas.microsoft.com/office/powerpoint/2010/main" val="34793475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5FCEDD-1CA7-D8C5-5765-5339AD5182EE}"/>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82B69D4C-AB54-D2F5-26C4-610C230F6DC2}"/>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D1CC0748-124C-547D-3012-C5FC768FFF89}"/>
              </a:ext>
            </a:extLst>
          </p:cNvPr>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a:t>Description of input-output relationships</a:t>
            </a:r>
            <a:endParaRPr lang="en-GB"/>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the duty to justify a given action to others and be answerable for the results of that action after it has been performed</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t>
            </a:r>
          </a:p>
          <a:p>
            <a:r>
              <a:rPr lang="en-US" sz="1200" b="1" kern="1200" err="1">
                <a:solidFill>
                  <a:schemeClr val="tx1"/>
                </a:solidFill>
                <a:effectLst/>
                <a:latin typeface="+mn-lt"/>
                <a:ea typeface="+mn-ea"/>
                <a:cs typeface="+mn-cs"/>
              </a:rPr>
              <a:t>Sensetive</a:t>
            </a:r>
            <a:r>
              <a:rPr lang="en-US" sz="1200" b="1" kern="1200">
                <a:solidFill>
                  <a:schemeClr val="tx1"/>
                </a:solidFill>
                <a:effectLst/>
                <a:latin typeface="+mn-lt"/>
                <a:ea typeface="+mn-ea"/>
                <a:cs typeface="+mn-cs"/>
              </a:rPr>
              <a:t> context that errors need to be tracked and reliability of the model get checked</a:t>
            </a:r>
            <a:endParaRPr lang="nl-NL" b="1"/>
          </a:p>
        </p:txBody>
      </p:sp>
      <p:sp>
        <p:nvSpPr>
          <p:cNvPr id="4" name="Tijdelijke aanduiding voor dianummer 3">
            <a:extLst>
              <a:ext uri="{FF2B5EF4-FFF2-40B4-BE49-F238E27FC236}">
                <a16:creationId xmlns:a16="http://schemas.microsoft.com/office/drawing/2014/main" id="{00F4649E-70FD-C31E-1975-FAD04DE9B360}"/>
              </a:ext>
            </a:extLst>
          </p:cNvPr>
          <p:cNvSpPr>
            <a:spLocks noGrp="1"/>
          </p:cNvSpPr>
          <p:nvPr>
            <p:ph type="sldNum" sz="quarter" idx="5"/>
          </p:nvPr>
        </p:nvSpPr>
        <p:spPr/>
        <p:txBody>
          <a:bodyPr/>
          <a:lstStyle/>
          <a:p>
            <a:fld id="{48C176B4-2F3E-4542-A88B-B482618D0CAA}" type="slidenum">
              <a:rPr lang="nl-NL" smtClean="0"/>
              <a:t>6</a:t>
            </a:fld>
            <a:endParaRPr lang="nl-NL"/>
          </a:p>
        </p:txBody>
      </p:sp>
    </p:spTree>
    <p:extLst>
      <p:ext uri="{BB962C8B-B14F-4D97-AF65-F5344CB8AC3E}">
        <p14:creationId xmlns:p14="http://schemas.microsoft.com/office/powerpoint/2010/main" val="9909981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B59D15-161A-79CA-85FC-60AB0C4123DD}"/>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34C98BE9-0342-CB3A-E64D-0792A6303EF1}"/>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3B837925-D898-390C-29CA-2B82B0B6A324}"/>
              </a:ext>
            </a:extLst>
          </p:cNvPr>
          <p:cNvSpPr>
            <a:spLocks noGrp="1"/>
          </p:cNvSpPr>
          <p:nvPr>
            <p:ph type="body" idx="1"/>
          </p:nvPr>
        </p:nvSpPr>
        <p:spPr/>
        <p:txBody>
          <a:bodyPr/>
          <a:lstStyle/>
          <a:p>
            <a:r>
              <a:rPr lang="en-US" sz="1200" kern="1200">
                <a:solidFill>
                  <a:schemeClr val="tx1"/>
                </a:solidFill>
                <a:effectLst/>
                <a:latin typeface="+mn-lt"/>
                <a:ea typeface="+mn-ea"/>
                <a:cs typeface="+mn-cs"/>
              </a:rPr>
              <a:t>Different accounts include different capacities, among which are regarding yourself as the bearer of dignity authorized to set your own ends, having respect for your powers of rational agency, trusting yourself that you can do what you set out to do, and being able to critically reflect on your values</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re comprised of human road users and how they function is affected by their behavior and action, that is why many acknowledge human error as the main cause of RTCs, arguing for a need to influence  human behavior or change their role in decision-making and action</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Persuade humans to delegate tasks to AI, </a:t>
            </a:r>
          </a:p>
          <a:p>
            <a:r>
              <a:rPr lang="en-US" sz="1200" kern="1200">
                <a:solidFill>
                  <a:schemeClr val="tx1"/>
                </a:solidFill>
                <a:effectLst/>
                <a:latin typeface="+mn-lt"/>
                <a:ea typeface="+mn-ea"/>
                <a:cs typeface="+mn-cs"/>
              </a:rPr>
              <a:t>Rely on its output and insights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hom to put risk on, whom to prioritize -&gt; difficult occasions that need principles to make decisions about</a:t>
            </a:r>
            <a:endParaRPr lang="nl-NL"/>
          </a:p>
        </p:txBody>
      </p:sp>
      <p:sp>
        <p:nvSpPr>
          <p:cNvPr id="4" name="Tijdelijke aanduiding voor dianummer 3">
            <a:extLst>
              <a:ext uri="{FF2B5EF4-FFF2-40B4-BE49-F238E27FC236}">
                <a16:creationId xmlns:a16="http://schemas.microsoft.com/office/drawing/2014/main" id="{70670064-1C6F-9558-1747-B46C81132D1A}"/>
              </a:ext>
            </a:extLst>
          </p:cNvPr>
          <p:cNvSpPr>
            <a:spLocks noGrp="1"/>
          </p:cNvSpPr>
          <p:nvPr>
            <p:ph type="sldNum" sz="quarter" idx="5"/>
          </p:nvPr>
        </p:nvSpPr>
        <p:spPr/>
        <p:txBody>
          <a:bodyPr/>
          <a:lstStyle/>
          <a:p>
            <a:fld id="{48C176B4-2F3E-4542-A88B-B482618D0CAA}" type="slidenum">
              <a:rPr lang="nl-NL" smtClean="0"/>
              <a:t>7</a:t>
            </a:fld>
            <a:endParaRPr lang="nl-NL"/>
          </a:p>
        </p:txBody>
      </p:sp>
    </p:spTree>
    <p:extLst>
      <p:ext uri="{BB962C8B-B14F-4D97-AF65-F5344CB8AC3E}">
        <p14:creationId xmlns:p14="http://schemas.microsoft.com/office/powerpoint/2010/main" val="367508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F4463F-EBAE-3F92-23CE-2869ED540F46}"/>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9C5C49E4-E305-A371-9464-03BC82F081EC}"/>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73865782-C763-FE96-B5D4-FFADA2F0F407}"/>
              </a:ext>
            </a:extLst>
          </p:cNvPr>
          <p:cNvSpPr>
            <a:spLocks noGrp="1"/>
          </p:cNvSpPr>
          <p:nvPr>
            <p:ph type="body" idx="1"/>
          </p:nvPr>
        </p:nvSpPr>
        <p:spPr/>
        <p:txBody>
          <a:bodyPr/>
          <a:lstStyle/>
          <a:p>
            <a:r>
              <a:rPr lang="nl-NL" err="1"/>
              <a:t>Already</a:t>
            </a:r>
            <a:r>
              <a:rPr lang="nl-NL"/>
              <a:t> full of </a:t>
            </a:r>
            <a:r>
              <a:rPr lang="nl-NL" err="1"/>
              <a:t>disparities</a:t>
            </a:r>
            <a:endParaRPr lang="nl-NL"/>
          </a:p>
          <a:p>
            <a:endParaRPr lang="nl-NL"/>
          </a:p>
          <a:p>
            <a:r>
              <a:rPr lang="nl-NL"/>
              <a:t>Life-</a:t>
            </a:r>
            <a:r>
              <a:rPr lang="nl-NL" err="1"/>
              <a:t>fullfiling</a:t>
            </a:r>
            <a:r>
              <a:rPr lang="nl-NL"/>
              <a:t> </a:t>
            </a:r>
            <a:r>
              <a:rPr lang="nl-NL" err="1"/>
              <a:t>activities</a:t>
            </a:r>
            <a:endParaRPr lang="nl-NL"/>
          </a:p>
          <a:p>
            <a:endParaRPr lang="nl-NL"/>
          </a:p>
          <a:p>
            <a:r>
              <a:rPr lang="nl-NL" err="1"/>
              <a:t>Inseperable</a:t>
            </a:r>
            <a:r>
              <a:rPr lang="nl-NL"/>
              <a:t> part of </a:t>
            </a:r>
            <a:r>
              <a:rPr lang="nl-NL" err="1"/>
              <a:t>lives</a:t>
            </a:r>
            <a:r>
              <a:rPr lang="nl-NL"/>
              <a:t> of </a:t>
            </a:r>
            <a:r>
              <a:rPr lang="nl-NL" err="1"/>
              <a:t>individuals</a:t>
            </a:r>
            <a:endParaRPr lang="nl-NL"/>
          </a:p>
        </p:txBody>
      </p:sp>
      <p:sp>
        <p:nvSpPr>
          <p:cNvPr id="4" name="Tijdelijke aanduiding voor dianummer 3">
            <a:extLst>
              <a:ext uri="{FF2B5EF4-FFF2-40B4-BE49-F238E27FC236}">
                <a16:creationId xmlns:a16="http://schemas.microsoft.com/office/drawing/2014/main" id="{6BC991A5-7E83-14C8-C20C-45B6D9D46CFC}"/>
              </a:ext>
            </a:extLst>
          </p:cNvPr>
          <p:cNvSpPr>
            <a:spLocks noGrp="1"/>
          </p:cNvSpPr>
          <p:nvPr>
            <p:ph type="sldNum" sz="quarter" idx="5"/>
          </p:nvPr>
        </p:nvSpPr>
        <p:spPr/>
        <p:txBody>
          <a:bodyPr/>
          <a:lstStyle/>
          <a:p>
            <a:fld id="{48C176B4-2F3E-4542-A88B-B482618D0CAA}" type="slidenum">
              <a:rPr lang="nl-NL" smtClean="0"/>
              <a:t>8</a:t>
            </a:fld>
            <a:endParaRPr lang="nl-NL"/>
          </a:p>
        </p:txBody>
      </p:sp>
    </p:spTree>
    <p:extLst>
      <p:ext uri="{BB962C8B-B14F-4D97-AF65-F5344CB8AC3E}">
        <p14:creationId xmlns:p14="http://schemas.microsoft.com/office/powerpoint/2010/main" val="4203403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3A604B-88E1-C6B0-61E8-319FC63DA411}"/>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1E206906-33AF-4C3B-FBB7-9E3B128CB375}"/>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F751F777-D87C-B129-6700-C63657EC57B7}"/>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B0C19957-B030-8E91-FF56-1CE5448F3FBB}"/>
              </a:ext>
            </a:extLst>
          </p:cNvPr>
          <p:cNvSpPr>
            <a:spLocks noGrp="1"/>
          </p:cNvSpPr>
          <p:nvPr>
            <p:ph type="sldNum" sz="quarter" idx="5"/>
          </p:nvPr>
        </p:nvSpPr>
        <p:spPr/>
        <p:txBody>
          <a:bodyPr/>
          <a:lstStyle/>
          <a:p>
            <a:fld id="{48C176B4-2F3E-4542-A88B-B482618D0CAA}" type="slidenum">
              <a:rPr lang="nl-NL" smtClean="0"/>
              <a:t>9</a:t>
            </a:fld>
            <a:endParaRPr lang="nl-NL"/>
          </a:p>
        </p:txBody>
      </p:sp>
    </p:spTree>
    <p:extLst>
      <p:ext uri="{BB962C8B-B14F-4D97-AF65-F5344CB8AC3E}">
        <p14:creationId xmlns:p14="http://schemas.microsoft.com/office/powerpoint/2010/main" val="689886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0F19A90F-0F4C-40B8-A835-4A5F12EB5FD7}" type="slidenum">
              <a:rPr lang="en-GB" smtClean="0"/>
              <a:pPr>
                <a:defRPr/>
              </a:pPr>
              <a:t>12</a:t>
            </a:fld>
            <a:endParaRPr lang="en-GB"/>
          </a:p>
        </p:txBody>
      </p:sp>
    </p:spTree>
    <p:extLst>
      <p:ext uri="{BB962C8B-B14F-4D97-AF65-F5344CB8AC3E}">
        <p14:creationId xmlns:p14="http://schemas.microsoft.com/office/powerpoint/2010/main" val="27264058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hemeOverride" Target="../theme/themeOverride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5" name="Picture 4" descr="Marie Skłodowska-Curie Actions Programme &amp; the Widening addition funding: €  335 million to support 1.676 researchers, including 34 who choose coming to  Portugal - Perin">
            <a:extLst>
              <a:ext uri="{FF2B5EF4-FFF2-40B4-BE49-F238E27FC236}">
                <a16:creationId xmlns:a16="http://schemas.microsoft.com/office/drawing/2014/main" id="{EF54F6DA-C291-A930-B0EE-B971D4FBBBC1}"/>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10268712" y="5876926"/>
            <a:ext cx="1536192" cy="84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93107" y="316194"/>
            <a:ext cx="11382998" cy="3112806"/>
          </a:xfrm>
          <a:noFill/>
        </p:spPr>
        <p:txBody>
          <a:bodyPr anchor="b"/>
          <a:lstStyle>
            <a:lvl1pPr algn="ctr">
              <a:defRPr sz="6000">
                <a:solidFill>
                  <a:schemeClr val="tx1"/>
                </a:solidFill>
              </a:defRPr>
            </a:lvl1pPr>
          </a:lstStyle>
          <a:p>
            <a:r>
              <a:rPr lang="en-US"/>
              <a:t>Click to edit Master title style</a:t>
            </a:r>
            <a:endParaRPr lang="en-GB"/>
          </a:p>
        </p:txBody>
      </p:sp>
      <p:sp>
        <p:nvSpPr>
          <p:cNvPr id="3" name="Subtitle 2"/>
          <p:cNvSpPr>
            <a:spLocks noGrp="1"/>
          </p:cNvSpPr>
          <p:nvPr>
            <p:ph type="subTitle" idx="1"/>
          </p:nvPr>
        </p:nvSpPr>
        <p:spPr>
          <a:xfrm>
            <a:off x="393107" y="3575304"/>
            <a:ext cx="11382998" cy="2280700"/>
          </a:xfrm>
          <a:noFill/>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6" name="Footer Placeholder 4">
            <a:extLst>
              <a:ext uri="{FF2B5EF4-FFF2-40B4-BE49-F238E27FC236}">
                <a16:creationId xmlns:a16="http://schemas.microsoft.com/office/drawing/2014/main" id="{841A37DF-E696-1C8F-B203-6EB1691AE2E1}"/>
              </a:ext>
            </a:extLst>
          </p:cNvPr>
          <p:cNvSpPr>
            <a:spLocks noGrp="1"/>
          </p:cNvSpPr>
          <p:nvPr>
            <p:ph type="ftr" sz="quarter" idx="14"/>
          </p:nvPr>
        </p:nvSpPr>
        <p:spPr>
          <a:xfrm>
            <a:off x="4578350" y="6356350"/>
            <a:ext cx="4114800" cy="365125"/>
          </a:xfrm>
        </p:spPr>
        <p:txBody>
          <a:bodyPr/>
          <a:lstStyle>
            <a:lvl1pPr>
              <a:defRPr/>
            </a:lvl1pPr>
          </a:lstStyle>
          <a:p>
            <a:pPr>
              <a:defRPr/>
            </a:pPr>
            <a:r>
              <a:rPr lang="en-GB"/>
              <a:t>www.ivory-network.eu</a:t>
            </a:r>
          </a:p>
        </p:txBody>
      </p:sp>
      <p:sp>
        <p:nvSpPr>
          <p:cNvPr id="7" name="Slide Number Placeholder 5">
            <a:extLst>
              <a:ext uri="{FF2B5EF4-FFF2-40B4-BE49-F238E27FC236}">
                <a16:creationId xmlns:a16="http://schemas.microsoft.com/office/drawing/2014/main" id="{F79E08D4-2CC8-189A-3C60-006CBC5773DF}"/>
              </a:ext>
            </a:extLst>
          </p:cNvPr>
          <p:cNvSpPr>
            <a:spLocks noGrp="1"/>
          </p:cNvSpPr>
          <p:nvPr>
            <p:ph type="sldNum" sz="quarter" idx="15"/>
          </p:nvPr>
        </p:nvSpPr>
        <p:spPr/>
        <p:txBody>
          <a:bodyPr/>
          <a:lstStyle>
            <a:lvl1pPr>
              <a:defRPr/>
            </a:lvl1pPr>
          </a:lstStyle>
          <a:p>
            <a:pPr>
              <a:defRPr/>
            </a:pPr>
            <a:fld id="{F7DF5EA6-7C81-4F37-9EDD-224F30436BE8}" type="slidenum">
              <a:rPr lang="en-GB"/>
              <a:pPr>
                <a:defRPr/>
              </a:pPr>
              <a:t>‹#›</a:t>
            </a:fld>
            <a:endParaRPr lang="en-GB"/>
          </a:p>
        </p:txBody>
      </p:sp>
      <p:sp>
        <p:nvSpPr>
          <p:cNvPr id="8" name="TextBox 7">
            <a:extLst>
              <a:ext uri="{FF2B5EF4-FFF2-40B4-BE49-F238E27FC236}">
                <a16:creationId xmlns:a16="http://schemas.microsoft.com/office/drawing/2014/main" id="{EA3D9A07-BE08-F71E-311C-EC3F7A1A10D1}"/>
              </a:ext>
            </a:extLst>
          </p:cNvPr>
          <p:cNvSpPr txBox="1"/>
          <p:nvPr userDrawn="1"/>
        </p:nvSpPr>
        <p:spPr>
          <a:xfrm>
            <a:off x="2438654" y="476385"/>
            <a:ext cx="6775450" cy="757130"/>
          </a:xfrm>
          <a:prstGeom prst="rect">
            <a:avLst/>
          </a:prstGeom>
          <a:noFill/>
        </p:spPr>
        <p:txBody>
          <a:bodyPr wrap="square" rtlCol="0">
            <a:spAutoFit/>
          </a:bodyPr>
          <a:lstStyle/>
          <a:p>
            <a:pPr marL="0" marR="0" lvl="0" indent="0" algn="ctr" defTabSz="914400" rtl="0" eaLnBrk="1" fontAlgn="base" latinLnBrk="0" hangingPunct="1">
              <a:lnSpc>
                <a:spcPct val="90000"/>
              </a:lnSpc>
              <a:spcBef>
                <a:spcPts val="1000"/>
              </a:spcBef>
              <a:spcAft>
                <a:spcPct val="0"/>
              </a:spcAft>
              <a:buClr>
                <a:srgbClr val="ADB9CA"/>
              </a:buClr>
              <a:buSzPct val="90000"/>
              <a:buFont typeface="Wingdings" panose="05000000000000000000" pitchFamily="2" charset="2"/>
              <a:buNone/>
              <a:tabLst/>
              <a:defRPr/>
            </a:pPr>
            <a:r>
              <a:rPr kumimoji="0" lang="en-US" sz="2800" b="1" i="0" u="none" strike="noStrike" kern="1200" cap="none" spc="0" normalizeH="0" baseline="0" noProof="0">
                <a:ln>
                  <a:noFill/>
                </a:ln>
                <a:solidFill>
                  <a:srgbClr val="FFFFFF"/>
                </a:solidFill>
                <a:effectLst/>
                <a:uLnTx/>
                <a:uFillTx/>
                <a:latin typeface="Calibri" panose="020F0502020204030204"/>
                <a:ea typeface="+mn-ea"/>
                <a:cs typeface="+mn-cs"/>
              </a:rPr>
              <a:t>IVORY – AI for Vision Zero in Road Safety</a:t>
            </a:r>
          </a:p>
          <a:p>
            <a:endParaRPr lang="en-GB"/>
          </a:p>
        </p:txBody>
      </p:sp>
      <p:pic>
        <p:nvPicPr>
          <p:cNvPr id="10" name="Picture 9" descr="A colorful circular design on a black background&#10;&#10;Description automatically generated">
            <a:extLst>
              <a:ext uri="{FF2B5EF4-FFF2-40B4-BE49-F238E27FC236}">
                <a16:creationId xmlns:a16="http://schemas.microsoft.com/office/drawing/2014/main" id="{1176D2DF-956E-120A-703A-71F8A7AE158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241046" y="96738"/>
            <a:ext cx="2273554" cy="2273554"/>
          </a:xfrm>
          <a:prstGeom prst="rect">
            <a:avLst/>
          </a:prstGeom>
        </p:spPr>
      </p:pic>
    </p:spTree>
    <p:extLst>
      <p:ext uri="{BB962C8B-B14F-4D97-AF65-F5344CB8AC3E}">
        <p14:creationId xmlns:p14="http://schemas.microsoft.com/office/powerpoint/2010/main" val="625699551"/>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3" name="Picture 5">
            <a:extLst>
              <a:ext uri="{FF2B5EF4-FFF2-40B4-BE49-F238E27FC236}">
                <a16:creationId xmlns:a16="http://schemas.microsoft.com/office/drawing/2014/main" id="{766B52B2-E13E-BFAF-D1B6-1D210BDFEB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9388" y="6162675"/>
            <a:ext cx="2314575"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ooter Placeholder 2">
            <a:extLst>
              <a:ext uri="{FF2B5EF4-FFF2-40B4-BE49-F238E27FC236}">
                <a16:creationId xmlns:a16="http://schemas.microsoft.com/office/drawing/2014/main" id="{28578081-290F-255B-CBA7-8B03206E5D87}"/>
              </a:ext>
            </a:extLst>
          </p:cNvPr>
          <p:cNvSpPr>
            <a:spLocks noGrp="1"/>
          </p:cNvSpPr>
          <p:nvPr>
            <p:ph type="ftr" sz="quarter" idx="14"/>
          </p:nvPr>
        </p:nvSpPr>
        <p:spPr/>
        <p:txBody>
          <a:bodyPr/>
          <a:lstStyle>
            <a:lvl1pPr>
              <a:defRPr/>
            </a:lvl1pPr>
          </a:lstStyle>
          <a:p>
            <a:pPr>
              <a:defRPr/>
            </a:pPr>
            <a:r>
              <a:rPr lang="en-GB"/>
              <a:t>www.ivory-network.eu</a:t>
            </a:r>
          </a:p>
        </p:txBody>
      </p:sp>
      <p:sp>
        <p:nvSpPr>
          <p:cNvPr id="5" name="Slide Number Placeholder 3">
            <a:extLst>
              <a:ext uri="{FF2B5EF4-FFF2-40B4-BE49-F238E27FC236}">
                <a16:creationId xmlns:a16="http://schemas.microsoft.com/office/drawing/2014/main" id="{FB988152-46E3-452F-7313-FEF46B4638DB}"/>
              </a:ext>
            </a:extLst>
          </p:cNvPr>
          <p:cNvSpPr>
            <a:spLocks noGrp="1"/>
          </p:cNvSpPr>
          <p:nvPr>
            <p:ph type="sldNum" sz="quarter" idx="15"/>
          </p:nvPr>
        </p:nvSpPr>
        <p:spPr/>
        <p:txBody>
          <a:bodyPr/>
          <a:lstStyle>
            <a:lvl1pPr>
              <a:defRPr/>
            </a:lvl1pPr>
          </a:lstStyle>
          <a:p>
            <a:pPr>
              <a:defRPr/>
            </a:pPr>
            <a:fld id="{7FEF4C73-4CFD-4F7A-B241-3579D4D49207}" type="slidenum">
              <a:rPr lang="en-GB"/>
              <a:pPr>
                <a:defRPr/>
              </a:pPr>
              <a:t>‹#›</a:t>
            </a:fld>
            <a:endParaRPr lang="en-GB"/>
          </a:p>
        </p:txBody>
      </p:sp>
    </p:spTree>
    <p:extLst>
      <p:ext uri="{BB962C8B-B14F-4D97-AF65-F5344CB8AC3E}">
        <p14:creationId xmlns:p14="http://schemas.microsoft.com/office/powerpoint/2010/main" val="39686390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1FB26D7-7F5B-63A5-763E-0FD13146B02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9388" y="6162675"/>
            <a:ext cx="2314575"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Footer Placeholder 5">
            <a:extLst>
              <a:ext uri="{FF2B5EF4-FFF2-40B4-BE49-F238E27FC236}">
                <a16:creationId xmlns:a16="http://schemas.microsoft.com/office/drawing/2014/main" id="{463FE308-9609-A07B-E517-1E1404EA99C8}"/>
              </a:ext>
            </a:extLst>
          </p:cNvPr>
          <p:cNvSpPr>
            <a:spLocks noGrp="1"/>
          </p:cNvSpPr>
          <p:nvPr>
            <p:ph type="ftr" sz="quarter" idx="14"/>
          </p:nvPr>
        </p:nvSpPr>
        <p:spPr/>
        <p:txBody>
          <a:bodyPr/>
          <a:lstStyle>
            <a:lvl1pPr>
              <a:defRPr/>
            </a:lvl1pPr>
          </a:lstStyle>
          <a:p>
            <a:pPr>
              <a:defRPr/>
            </a:pPr>
            <a:r>
              <a:rPr lang="en-GB"/>
              <a:t>www.ivory-network.eu</a:t>
            </a:r>
          </a:p>
        </p:txBody>
      </p:sp>
      <p:sp>
        <p:nvSpPr>
          <p:cNvPr id="8" name="Slide Number Placeholder 6">
            <a:extLst>
              <a:ext uri="{FF2B5EF4-FFF2-40B4-BE49-F238E27FC236}">
                <a16:creationId xmlns:a16="http://schemas.microsoft.com/office/drawing/2014/main" id="{4A3AD448-F030-9808-942B-10593A2F7A2D}"/>
              </a:ext>
            </a:extLst>
          </p:cNvPr>
          <p:cNvSpPr>
            <a:spLocks noGrp="1"/>
          </p:cNvSpPr>
          <p:nvPr>
            <p:ph type="sldNum" sz="quarter" idx="15"/>
          </p:nvPr>
        </p:nvSpPr>
        <p:spPr/>
        <p:txBody>
          <a:bodyPr/>
          <a:lstStyle>
            <a:lvl1pPr>
              <a:defRPr/>
            </a:lvl1pPr>
          </a:lstStyle>
          <a:p>
            <a:pPr>
              <a:defRPr/>
            </a:pPr>
            <a:fld id="{574FB580-C655-4F1C-BB3B-C2B79F1720AE}" type="slidenum">
              <a:rPr lang="en-GB"/>
              <a:pPr>
                <a:defRPr/>
              </a:pPr>
              <a:t>‹#›</a:t>
            </a:fld>
            <a:endParaRPr lang="en-GB"/>
          </a:p>
        </p:txBody>
      </p:sp>
    </p:spTree>
    <p:extLst>
      <p:ext uri="{BB962C8B-B14F-4D97-AF65-F5344CB8AC3E}">
        <p14:creationId xmlns:p14="http://schemas.microsoft.com/office/powerpoint/2010/main" val="7476677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6BC5C17-19DC-C1F0-A8BA-D071037C3F6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9388" y="6162675"/>
            <a:ext cx="2314575"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6598331" y="-666750"/>
            <a:ext cx="6172200" cy="4873625"/>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GB"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a:xfrm>
            <a:off x="5225258" y="2900590"/>
            <a:ext cx="3932237" cy="2738210"/>
          </a:xfrm>
          <a:prstGeom prst="ellipse">
            <a:avLst/>
          </a:prstGeom>
        </p:spPr>
        <p:style>
          <a:lnRef idx="0">
            <a:schemeClr val="accent6"/>
          </a:lnRef>
          <a:fillRef idx="3">
            <a:schemeClr val="accent6"/>
          </a:fillRef>
          <a:effectRef idx="3">
            <a:schemeClr val="accent6"/>
          </a:effectRef>
          <a:fontRef idx="minor">
            <a:schemeClr val="lt1"/>
          </a:fontRef>
        </p:style>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GB" noProof="0"/>
          </a:p>
        </p:txBody>
      </p:sp>
      <p:sp>
        <p:nvSpPr>
          <p:cNvPr id="7" name="Footer Placeholder 5">
            <a:extLst>
              <a:ext uri="{FF2B5EF4-FFF2-40B4-BE49-F238E27FC236}">
                <a16:creationId xmlns:a16="http://schemas.microsoft.com/office/drawing/2014/main" id="{B7749B21-72FD-9A23-6D21-E6E14482F811}"/>
              </a:ext>
            </a:extLst>
          </p:cNvPr>
          <p:cNvSpPr>
            <a:spLocks noGrp="1"/>
          </p:cNvSpPr>
          <p:nvPr>
            <p:ph type="ftr" sz="quarter" idx="15"/>
          </p:nvPr>
        </p:nvSpPr>
        <p:spPr/>
        <p:txBody>
          <a:bodyPr/>
          <a:lstStyle>
            <a:lvl1pPr>
              <a:defRPr/>
            </a:lvl1pPr>
          </a:lstStyle>
          <a:p>
            <a:pPr>
              <a:defRPr/>
            </a:pPr>
            <a:r>
              <a:rPr lang="en-GB"/>
              <a:t>www.ivory-network.eu</a:t>
            </a:r>
          </a:p>
        </p:txBody>
      </p:sp>
      <p:sp>
        <p:nvSpPr>
          <p:cNvPr id="9" name="Slide Number Placeholder 6">
            <a:extLst>
              <a:ext uri="{FF2B5EF4-FFF2-40B4-BE49-F238E27FC236}">
                <a16:creationId xmlns:a16="http://schemas.microsoft.com/office/drawing/2014/main" id="{A75D8565-3821-FA85-26F4-1BEA39CEDDA3}"/>
              </a:ext>
            </a:extLst>
          </p:cNvPr>
          <p:cNvSpPr>
            <a:spLocks noGrp="1"/>
          </p:cNvSpPr>
          <p:nvPr>
            <p:ph type="sldNum" sz="quarter" idx="16"/>
          </p:nvPr>
        </p:nvSpPr>
        <p:spPr/>
        <p:txBody>
          <a:bodyPr/>
          <a:lstStyle>
            <a:lvl1pPr>
              <a:defRPr/>
            </a:lvl1pPr>
          </a:lstStyle>
          <a:p>
            <a:pPr>
              <a:defRPr/>
            </a:pPr>
            <a:fld id="{34604C50-C145-4B43-9FA7-A15292DC4C10}" type="slidenum">
              <a:rPr lang="en-GB"/>
              <a:pPr>
                <a:defRPr/>
              </a:pPr>
              <a:t>‹#›</a:t>
            </a:fld>
            <a:endParaRPr lang="en-GB"/>
          </a:p>
        </p:txBody>
      </p:sp>
    </p:spTree>
    <p:extLst>
      <p:ext uri="{BB962C8B-B14F-4D97-AF65-F5344CB8AC3E}">
        <p14:creationId xmlns:p14="http://schemas.microsoft.com/office/powerpoint/2010/main" val="22190443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1_Title Only">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163481"/>
            <a:ext cx="10515600" cy="739056"/>
          </a:xfrm>
        </p:spPr>
        <p:txBody>
          <a:bodyPr>
            <a:normAutofit/>
          </a:bodyPr>
          <a:lstStyle>
            <a:lvl1pPr>
              <a:defRPr sz="3600"/>
            </a:lvl1pPr>
          </a:lstStyle>
          <a:p>
            <a:r>
              <a:rPr lang="en-US"/>
              <a:t>Click to edit Master title style</a:t>
            </a:r>
          </a:p>
        </p:txBody>
      </p:sp>
      <p:grpSp>
        <p:nvGrpSpPr>
          <p:cNvPr id="3" name="Group 2">
            <a:extLst>
              <a:ext uri="{FF2B5EF4-FFF2-40B4-BE49-F238E27FC236}">
                <a16:creationId xmlns:a16="http://schemas.microsoft.com/office/drawing/2014/main" id="{75930DF0-104B-4293-A7F6-66AEFF3E6AF8}"/>
              </a:ext>
            </a:extLst>
          </p:cNvPr>
          <p:cNvGrpSpPr/>
          <p:nvPr userDrawn="1"/>
        </p:nvGrpSpPr>
        <p:grpSpPr>
          <a:xfrm>
            <a:off x="12554553" y="1"/>
            <a:ext cx="1647523" cy="1816099"/>
            <a:chOff x="12554553" y="1"/>
            <a:chExt cx="1647523" cy="1816099"/>
          </a:xfrm>
        </p:grpSpPr>
        <p:sp>
          <p:nvSpPr>
            <p:cNvPr id="4" name="Rectangle: Folded Corner 3">
              <a:extLst>
                <a:ext uri="{FF2B5EF4-FFF2-40B4-BE49-F238E27FC236}">
                  <a16:creationId xmlns:a16="http://schemas.microsoft.com/office/drawing/2014/main" id="{9FDF5E90-AE29-4303-979F-161F791D98BB}"/>
                </a:ext>
              </a:extLst>
            </p:cNvPr>
            <p:cNvSpPr/>
            <p:nvPr userDrawn="1"/>
          </p:nvSpPr>
          <p:spPr>
            <a:xfrm>
              <a:off x="12554553" y="1"/>
              <a:ext cx="1644047" cy="1816099"/>
            </a:xfrm>
            <a:prstGeom prst="foldedCorner">
              <a:avLst/>
            </a:prstGeom>
            <a:ln>
              <a:noFill/>
            </a:ln>
            <a:effectLst>
              <a:outerShdw blurRad="101600" dist="635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Ins="0" rtlCol="0" anchor="t"/>
            <a:lstStyle/>
            <a:p>
              <a:r>
                <a:rPr lang="en-US" sz="1400">
                  <a:solidFill>
                    <a:schemeClr val="accent2">
                      <a:lumMod val="50000"/>
                    </a:schemeClr>
                  </a:solidFill>
                </a:rPr>
                <a:t>To insert your own icons*:</a:t>
              </a:r>
            </a:p>
            <a:p>
              <a:endParaRPr lang="en-US" sz="1400">
                <a:solidFill>
                  <a:schemeClr val="accent2">
                    <a:lumMod val="50000"/>
                  </a:schemeClr>
                </a:solidFill>
              </a:endParaRPr>
            </a:p>
            <a:p>
              <a:r>
                <a:rPr lang="en-US" sz="1400" b="1">
                  <a:solidFill>
                    <a:schemeClr val="accent2">
                      <a:lumMod val="50000"/>
                    </a:schemeClr>
                  </a:solidFill>
                </a:rPr>
                <a:t>Insert</a:t>
              </a:r>
              <a:r>
                <a:rPr lang="en-US" sz="1400">
                  <a:solidFill>
                    <a:schemeClr val="accent2">
                      <a:lumMod val="50000"/>
                    </a:schemeClr>
                  </a:solidFill>
                </a:rPr>
                <a:t> &gt;&gt; </a:t>
              </a:r>
              <a:r>
                <a:rPr lang="en-US" sz="1400" b="1">
                  <a:solidFill>
                    <a:schemeClr val="accent2">
                      <a:lumMod val="50000"/>
                    </a:schemeClr>
                  </a:solidFill>
                </a:rPr>
                <a:t>Icons</a:t>
              </a:r>
            </a:p>
            <a:p>
              <a:endParaRPr lang="en-US" sz="1400">
                <a:solidFill>
                  <a:schemeClr val="accent2">
                    <a:lumMod val="50000"/>
                  </a:schemeClr>
                </a:solidFill>
              </a:endParaRPr>
            </a:p>
            <a:p>
              <a:r>
                <a:rPr lang="en-US" sz="1200" i="1">
                  <a:solidFill>
                    <a:schemeClr val="accent2">
                      <a:lumMod val="50000"/>
                    </a:schemeClr>
                  </a:solidFill>
                </a:rPr>
                <a:t>(*Only available to Office 365 subscribers)</a:t>
              </a:r>
            </a:p>
          </p:txBody>
        </p:sp>
        <p:pic>
          <p:nvPicPr>
            <p:cNvPr id="5" name="Picture 4">
              <a:extLst>
                <a:ext uri="{FF2B5EF4-FFF2-40B4-BE49-F238E27FC236}">
                  <a16:creationId xmlns:a16="http://schemas.microsoft.com/office/drawing/2014/main" id="{9C25032D-D31A-446E-BBAA-A896C50E8CFA}"/>
                </a:ext>
              </a:extLst>
            </p:cNvPr>
            <p:cNvPicPr>
              <a:picLocks noChangeAspect="1"/>
            </p:cNvPicPr>
            <p:nvPr userDrawn="1"/>
          </p:nvPicPr>
          <p:blipFill>
            <a:blip r:embed="rId2"/>
            <a:stretch>
              <a:fillRect/>
            </a:stretch>
          </p:blipFill>
          <p:spPr>
            <a:xfrm>
              <a:off x="13802026" y="424090"/>
              <a:ext cx="400050" cy="657225"/>
            </a:xfrm>
            <a:prstGeom prst="rect">
              <a:avLst/>
            </a:prstGeom>
          </p:spPr>
        </p:pic>
      </p:grpSp>
    </p:spTree>
    <p:extLst>
      <p:ext uri="{BB962C8B-B14F-4D97-AF65-F5344CB8AC3E}">
        <p14:creationId xmlns:p14="http://schemas.microsoft.com/office/powerpoint/2010/main" val="35654451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ustom">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a:p>
        </p:txBody>
      </p:sp>
    </p:spTree>
    <p:extLst>
      <p:ext uri="{BB962C8B-B14F-4D97-AF65-F5344CB8AC3E}">
        <p14:creationId xmlns:p14="http://schemas.microsoft.com/office/powerpoint/2010/main" val="2758412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4B7FDD6-4979-38DC-D1A5-A093601B3DBC}"/>
              </a:ext>
            </a:extLst>
          </p:cNvPr>
          <p:cNvCxnSpPr/>
          <p:nvPr/>
        </p:nvCxnSpPr>
        <p:spPr>
          <a:xfrm>
            <a:off x="838199" y="948246"/>
            <a:ext cx="8177213" cy="0"/>
          </a:xfrm>
          <a:prstGeom prst="line">
            <a:avLst/>
          </a:prstGeom>
          <a:ln w="63500">
            <a:solidFill>
              <a:schemeClr val="accent1"/>
            </a:solidFill>
          </a:ln>
        </p:spPr>
        <p:style>
          <a:lnRef idx="3">
            <a:schemeClr val="accent1"/>
          </a:lnRef>
          <a:fillRef idx="0">
            <a:schemeClr val="accent1"/>
          </a:fillRef>
          <a:effectRef idx="2">
            <a:schemeClr val="accent1"/>
          </a:effectRef>
          <a:fontRef idx="minor">
            <a:schemeClr val="tx1"/>
          </a:fontRef>
        </p:style>
      </p:cxnSp>
      <p:sp>
        <p:nvSpPr>
          <p:cNvPr id="2" name="Title 1"/>
          <p:cNvSpPr>
            <a:spLocks noGrp="1"/>
          </p:cNvSpPr>
          <p:nvPr>
            <p:ph type="title"/>
          </p:nvPr>
        </p:nvSpPr>
        <p:spPr>
          <a:xfrm>
            <a:off x="838200" y="117443"/>
            <a:ext cx="10515600" cy="1052513"/>
          </a:xfrm>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buSzPct val="90000"/>
              <a:defRPr/>
            </a:lvl2pPr>
            <a:lvl3pPr>
              <a:buClr>
                <a:schemeClr val="accent1">
                  <a:lumMod val="60000"/>
                  <a:lumOff val="40000"/>
                </a:schemeClr>
              </a:buClr>
              <a:defRPr/>
            </a:lvl3pPr>
          </a:lstStyle>
          <a:p>
            <a:pPr lvl="0"/>
            <a:r>
              <a:rPr lang="en-US"/>
              <a:t>Click to edit Master text styles</a:t>
            </a:r>
          </a:p>
          <a:p>
            <a:pPr lvl="1"/>
            <a:r>
              <a:rPr lang="en-US"/>
              <a:t>Second level</a:t>
            </a:r>
          </a:p>
          <a:p>
            <a:pPr lvl="2"/>
            <a:r>
              <a:rPr lang="en-US"/>
              <a:t>Third level</a:t>
            </a:r>
          </a:p>
        </p:txBody>
      </p:sp>
      <p:sp>
        <p:nvSpPr>
          <p:cNvPr id="7" name="Footer Placeholder 4">
            <a:extLst>
              <a:ext uri="{FF2B5EF4-FFF2-40B4-BE49-F238E27FC236}">
                <a16:creationId xmlns:a16="http://schemas.microsoft.com/office/drawing/2014/main" id="{C07B4A80-C1EB-9A2C-41C4-4039B478D87F}"/>
              </a:ext>
            </a:extLst>
          </p:cNvPr>
          <p:cNvSpPr>
            <a:spLocks noGrp="1"/>
          </p:cNvSpPr>
          <p:nvPr>
            <p:ph type="ftr" sz="quarter" idx="14"/>
          </p:nvPr>
        </p:nvSpPr>
        <p:spPr>
          <a:xfrm>
            <a:off x="4095750" y="6330950"/>
            <a:ext cx="4114800" cy="365125"/>
          </a:xfrm>
        </p:spPr>
        <p:txBody>
          <a:bodyPr/>
          <a:lstStyle>
            <a:lvl1pPr>
              <a:defRPr/>
            </a:lvl1pPr>
          </a:lstStyle>
          <a:p>
            <a:pPr>
              <a:defRPr/>
            </a:pPr>
            <a:r>
              <a:rPr lang="en-GB"/>
              <a:t>www.ivory-network.eu</a:t>
            </a:r>
          </a:p>
        </p:txBody>
      </p:sp>
      <p:sp>
        <p:nvSpPr>
          <p:cNvPr id="8" name="Slide Number Placeholder 5">
            <a:extLst>
              <a:ext uri="{FF2B5EF4-FFF2-40B4-BE49-F238E27FC236}">
                <a16:creationId xmlns:a16="http://schemas.microsoft.com/office/drawing/2014/main" id="{C547F552-D79E-941E-7CE7-A68F488A3C74}"/>
              </a:ext>
            </a:extLst>
          </p:cNvPr>
          <p:cNvSpPr>
            <a:spLocks noGrp="1"/>
          </p:cNvSpPr>
          <p:nvPr>
            <p:ph type="sldNum" sz="quarter" idx="15"/>
          </p:nvPr>
        </p:nvSpPr>
        <p:spPr/>
        <p:txBody>
          <a:bodyPr/>
          <a:lstStyle>
            <a:lvl1pPr>
              <a:defRPr/>
            </a:lvl1pPr>
          </a:lstStyle>
          <a:p>
            <a:pPr>
              <a:defRPr/>
            </a:pPr>
            <a:fld id="{21BDA4F9-2812-42BC-8981-C5FE6A024CD6}" type="slidenum">
              <a:rPr lang="en-GB"/>
              <a:pPr>
                <a:defRPr/>
              </a:pPr>
              <a:t>‹#›</a:t>
            </a:fld>
            <a:endParaRPr lang="en-GB"/>
          </a:p>
        </p:txBody>
      </p:sp>
      <p:pic>
        <p:nvPicPr>
          <p:cNvPr id="10" name="Picture 9" descr="A close up of a logo&#10;&#10;Description automatically generated">
            <a:extLst>
              <a:ext uri="{FF2B5EF4-FFF2-40B4-BE49-F238E27FC236}">
                <a16:creationId xmlns:a16="http://schemas.microsoft.com/office/drawing/2014/main" id="{00A6E231-8897-275B-639F-82F2952424E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914829" y="6234493"/>
            <a:ext cx="1886712" cy="516763"/>
          </a:xfrm>
          <a:prstGeom prst="rect">
            <a:avLst/>
          </a:prstGeom>
        </p:spPr>
      </p:pic>
    </p:spTree>
    <p:extLst>
      <p:ext uri="{BB962C8B-B14F-4D97-AF65-F5344CB8AC3E}">
        <p14:creationId xmlns:p14="http://schemas.microsoft.com/office/powerpoint/2010/main" val="22392507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B50DC947-6E0C-9013-01A0-1DF83BA66E14}"/>
              </a:ext>
            </a:extLst>
          </p:cNvPr>
          <p:cNvCxnSpPr/>
          <p:nvPr/>
        </p:nvCxnSpPr>
        <p:spPr>
          <a:xfrm>
            <a:off x="838200" y="1417638"/>
            <a:ext cx="8177213" cy="0"/>
          </a:xfrm>
          <a:prstGeom prst="line">
            <a:avLst/>
          </a:prstGeom>
          <a:ln w="63500">
            <a:solidFill>
              <a:schemeClr val="accent1"/>
            </a:solidFill>
          </a:ln>
        </p:spPr>
        <p:style>
          <a:lnRef idx="3">
            <a:schemeClr val="accent1"/>
          </a:lnRef>
          <a:fillRef idx="0">
            <a:schemeClr val="accent1"/>
          </a:fillRef>
          <a:effectRef idx="2">
            <a:schemeClr val="accent1"/>
          </a:effectRef>
          <a:fontRef idx="minor">
            <a:schemeClr val="tx1"/>
          </a:fontRef>
        </p:style>
      </p:cxnSp>
      <p:cxnSp>
        <p:nvCxnSpPr>
          <p:cNvPr id="5" name="Straight Connector 4">
            <a:extLst>
              <a:ext uri="{FF2B5EF4-FFF2-40B4-BE49-F238E27FC236}">
                <a16:creationId xmlns:a16="http://schemas.microsoft.com/office/drawing/2014/main" id="{34CDBF9F-FAFC-0B02-21DD-3391648E07B1}"/>
              </a:ext>
            </a:extLst>
          </p:cNvPr>
          <p:cNvCxnSpPr/>
          <p:nvPr/>
        </p:nvCxnSpPr>
        <p:spPr>
          <a:xfrm>
            <a:off x="838200" y="1417638"/>
            <a:ext cx="8177213" cy="0"/>
          </a:xfrm>
          <a:prstGeom prst="line">
            <a:avLst/>
          </a:prstGeom>
          <a:ln w="63500">
            <a:solidFill>
              <a:schemeClr val="accent1"/>
            </a:solidFill>
          </a:ln>
        </p:spPr>
        <p:style>
          <a:lnRef idx="3">
            <a:schemeClr val="accent1"/>
          </a:lnRef>
          <a:fillRef idx="0">
            <a:schemeClr val="accent1"/>
          </a:fillRef>
          <a:effectRef idx="2">
            <a:schemeClr val="accent1"/>
          </a:effectRef>
          <a:fontRef idx="minor">
            <a:schemeClr val="tx1"/>
          </a:fontRef>
        </p:style>
      </p:cxnSp>
      <p:pic>
        <p:nvPicPr>
          <p:cNvPr id="6" name="Picture 9">
            <a:extLst>
              <a:ext uri="{FF2B5EF4-FFF2-40B4-BE49-F238E27FC236}">
                <a16:creationId xmlns:a16="http://schemas.microsoft.com/office/drawing/2014/main" id="{1831477B-8CFB-8031-31CE-4508CD7983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9388" y="6162675"/>
            <a:ext cx="2314575"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a:buClr>
                <a:schemeClr val="accent3"/>
              </a:buClr>
              <a:defRPr/>
            </a:lvl1pPr>
            <a:lvl2pPr>
              <a:buClr>
                <a:schemeClr val="accent3"/>
              </a:buClr>
              <a:buSzPct val="90000"/>
              <a:defRPr/>
            </a:lvl2pPr>
            <a:lvl3pPr>
              <a:buClr>
                <a:schemeClr val="accent3"/>
              </a:buClr>
              <a:defRPr/>
            </a:lvl3pPr>
          </a:lstStyle>
          <a:p>
            <a:pPr lvl="0"/>
            <a:r>
              <a:rPr lang="en-US"/>
              <a:t>Click to edit Master text styles</a:t>
            </a:r>
          </a:p>
          <a:p>
            <a:pPr lvl="1"/>
            <a:r>
              <a:rPr lang="en-US"/>
              <a:t>Second level</a:t>
            </a:r>
          </a:p>
          <a:p>
            <a:pPr lvl="2"/>
            <a:r>
              <a:rPr lang="en-US"/>
              <a:t>Third level</a:t>
            </a:r>
          </a:p>
        </p:txBody>
      </p:sp>
      <p:sp>
        <p:nvSpPr>
          <p:cNvPr id="7" name="Footer Placeholder 4">
            <a:extLst>
              <a:ext uri="{FF2B5EF4-FFF2-40B4-BE49-F238E27FC236}">
                <a16:creationId xmlns:a16="http://schemas.microsoft.com/office/drawing/2014/main" id="{C1597205-DBC7-21F4-3C58-5546168CAAEE}"/>
              </a:ext>
            </a:extLst>
          </p:cNvPr>
          <p:cNvSpPr>
            <a:spLocks noGrp="1"/>
          </p:cNvSpPr>
          <p:nvPr>
            <p:ph type="ftr" sz="quarter" idx="14"/>
          </p:nvPr>
        </p:nvSpPr>
        <p:spPr/>
        <p:txBody>
          <a:bodyPr/>
          <a:lstStyle>
            <a:lvl1pPr>
              <a:defRPr/>
            </a:lvl1pPr>
          </a:lstStyle>
          <a:p>
            <a:pPr>
              <a:defRPr/>
            </a:pPr>
            <a:r>
              <a:rPr lang="en-GB"/>
              <a:t>www.ivory-network.eu</a:t>
            </a:r>
          </a:p>
        </p:txBody>
      </p:sp>
      <p:sp>
        <p:nvSpPr>
          <p:cNvPr id="8" name="Slide Number Placeholder 5">
            <a:extLst>
              <a:ext uri="{FF2B5EF4-FFF2-40B4-BE49-F238E27FC236}">
                <a16:creationId xmlns:a16="http://schemas.microsoft.com/office/drawing/2014/main" id="{CDAF4D45-7B04-2022-E1E3-DE8F35C2D77F}"/>
              </a:ext>
            </a:extLst>
          </p:cNvPr>
          <p:cNvSpPr>
            <a:spLocks noGrp="1"/>
          </p:cNvSpPr>
          <p:nvPr>
            <p:ph type="sldNum" sz="quarter" idx="15"/>
          </p:nvPr>
        </p:nvSpPr>
        <p:spPr/>
        <p:txBody>
          <a:bodyPr/>
          <a:lstStyle>
            <a:lvl1pPr>
              <a:defRPr/>
            </a:lvl1pPr>
          </a:lstStyle>
          <a:p>
            <a:pPr>
              <a:defRPr/>
            </a:pPr>
            <a:fld id="{62296CFD-6948-4EE8-82F0-92BD34D314A4}" type="slidenum">
              <a:rPr lang="en-GB"/>
              <a:pPr>
                <a:defRPr/>
              </a:pPr>
              <a:t>‹#›</a:t>
            </a:fld>
            <a:endParaRPr lang="en-GB"/>
          </a:p>
        </p:txBody>
      </p:sp>
    </p:spTree>
    <p:extLst>
      <p:ext uri="{BB962C8B-B14F-4D97-AF65-F5344CB8AC3E}">
        <p14:creationId xmlns:p14="http://schemas.microsoft.com/office/powerpoint/2010/main" val="2412451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5" name="Picture 5">
            <a:extLst>
              <a:ext uri="{FF2B5EF4-FFF2-40B4-BE49-F238E27FC236}">
                <a16:creationId xmlns:a16="http://schemas.microsoft.com/office/drawing/2014/main" id="{B9089300-2181-5FE6-F298-5CE573FED0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9388" y="6162675"/>
            <a:ext cx="2314575"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a:buClr>
                <a:schemeClr val="accent4"/>
              </a:buClr>
              <a:defRPr/>
            </a:lvl1pPr>
            <a:lvl2pPr>
              <a:buClr>
                <a:schemeClr val="accent4"/>
              </a:buClr>
              <a:buSzPct val="90000"/>
              <a:defRPr/>
            </a:lvl2pPr>
            <a:lvl3pPr>
              <a:buClr>
                <a:schemeClr val="accent4"/>
              </a:buClr>
              <a:defRPr/>
            </a:lvl3pPr>
          </a:lstStyle>
          <a:p>
            <a:pPr lvl="0"/>
            <a:r>
              <a:rPr lang="en-US"/>
              <a:t>Click to edit Master text styles</a:t>
            </a:r>
          </a:p>
          <a:p>
            <a:pPr lvl="1"/>
            <a:r>
              <a:rPr lang="en-US"/>
              <a:t>Second level</a:t>
            </a:r>
          </a:p>
          <a:p>
            <a:pPr lvl="2"/>
            <a:r>
              <a:rPr lang="en-US"/>
              <a:t>Third level</a:t>
            </a:r>
          </a:p>
        </p:txBody>
      </p:sp>
      <p:sp>
        <p:nvSpPr>
          <p:cNvPr id="6" name="Footer Placeholder 4">
            <a:extLst>
              <a:ext uri="{FF2B5EF4-FFF2-40B4-BE49-F238E27FC236}">
                <a16:creationId xmlns:a16="http://schemas.microsoft.com/office/drawing/2014/main" id="{5AC23E9A-9096-39CC-FB4A-DB2BF43B7C79}"/>
              </a:ext>
            </a:extLst>
          </p:cNvPr>
          <p:cNvSpPr>
            <a:spLocks noGrp="1"/>
          </p:cNvSpPr>
          <p:nvPr>
            <p:ph type="ftr" sz="quarter" idx="14"/>
          </p:nvPr>
        </p:nvSpPr>
        <p:spPr/>
        <p:txBody>
          <a:bodyPr/>
          <a:lstStyle>
            <a:lvl1pPr>
              <a:defRPr/>
            </a:lvl1pPr>
          </a:lstStyle>
          <a:p>
            <a:pPr>
              <a:defRPr/>
            </a:pPr>
            <a:r>
              <a:rPr lang="en-GB"/>
              <a:t>www.ivory-network.eu</a:t>
            </a:r>
          </a:p>
        </p:txBody>
      </p:sp>
      <p:sp>
        <p:nvSpPr>
          <p:cNvPr id="7" name="Slide Number Placeholder 5">
            <a:extLst>
              <a:ext uri="{FF2B5EF4-FFF2-40B4-BE49-F238E27FC236}">
                <a16:creationId xmlns:a16="http://schemas.microsoft.com/office/drawing/2014/main" id="{430DE7FD-489E-7A2A-8AA8-E091D0AB500B}"/>
              </a:ext>
            </a:extLst>
          </p:cNvPr>
          <p:cNvSpPr>
            <a:spLocks noGrp="1"/>
          </p:cNvSpPr>
          <p:nvPr>
            <p:ph type="sldNum" sz="quarter" idx="15"/>
          </p:nvPr>
        </p:nvSpPr>
        <p:spPr/>
        <p:txBody>
          <a:bodyPr/>
          <a:lstStyle>
            <a:lvl1pPr>
              <a:defRPr/>
            </a:lvl1pPr>
          </a:lstStyle>
          <a:p>
            <a:pPr>
              <a:defRPr/>
            </a:pPr>
            <a:fld id="{D1E6F7BD-3CBA-4776-A85A-60E795A1A96E}" type="slidenum">
              <a:rPr lang="en-GB"/>
              <a:pPr>
                <a:defRPr/>
              </a:pPr>
              <a:t>‹#›</a:t>
            </a:fld>
            <a:endParaRPr lang="en-GB"/>
          </a:p>
        </p:txBody>
      </p:sp>
    </p:spTree>
    <p:extLst>
      <p:ext uri="{BB962C8B-B14F-4D97-AF65-F5344CB8AC3E}">
        <p14:creationId xmlns:p14="http://schemas.microsoft.com/office/powerpoint/2010/main" val="2418614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5" name="Picture 5">
            <a:extLst>
              <a:ext uri="{FF2B5EF4-FFF2-40B4-BE49-F238E27FC236}">
                <a16:creationId xmlns:a16="http://schemas.microsoft.com/office/drawing/2014/main" id="{0B27199C-9CBA-E98B-78FA-183D8966F5A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9388" y="6162675"/>
            <a:ext cx="2314575"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a:buClr>
                <a:schemeClr val="accent5"/>
              </a:buClr>
              <a:defRPr/>
            </a:lvl1pPr>
            <a:lvl2pPr>
              <a:buClr>
                <a:schemeClr val="accent5"/>
              </a:buClr>
              <a:buSzPct val="90000"/>
              <a:defRPr/>
            </a:lvl2pPr>
            <a:lvl3pPr>
              <a:buClr>
                <a:schemeClr val="accent5"/>
              </a:buClr>
              <a:defRPr/>
            </a:lvl3pPr>
          </a:lstStyle>
          <a:p>
            <a:pPr lvl="0"/>
            <a:r>
              <a:rPr lang="en-US"/>
              <a:t>Click to edit Master text styles</a:t>
            </a:r>
          </a:p>
          <a:p>
            <a:pPr lvl="1"/>
            <a:r>
              <a:rPr lang="en-US"/>
              <a:t>Second level</a:t>
            </a:r>
          </a:p>
          <a:p>
            <a:pPr lvl="2"/>
            <a:r>
              <a:rPr lang="en-US"/>
              <a:t>Third level</a:t>
            </a:r>
          </a:p>
        </p:txBody>
      </p:sp>
      <p:sp>
        <p:nvSpPr>
          <p:cNvPr id="6" name="Footer Placeholder 4">
            <a:extLst>
              <a:ext uri="{FF2B5EF4-FFF2-40B4-BE49-F238E27FC236}">
                <a16:creationId xmlns:a16="http://schemas.microsoft.com/office/drawing/2014/main" id="{B4EF31AA-0EAD-1AE3-17CB-06642EA0E5B0}"/>
              </a:ext>
            </a:extLst>
          </p:cNvPr>
          <p:cNvSpPr>
            <a:spLocks noGrp="1"/>
          </p:cNvSpPr>
          <p:nvPr>
            <p:ph type="ftr" sz="quarter" idx="14"/>
          </p:nvPr>
        </p:nvSpPr>
        <p:spPr/>
        <p:txBody>
          <a:bodyPr/>
          <a:lstStyle>
            <a:lvl1pPr>
              <a:defRPr/>
            </a:lvl1pPr>
          </a:lstStyle>
          <a:p>
            <a:pPr>
              <a:defRPr/>
            </a:pPr>
            <a:r>
              <a:rPr lang="en-GB"/>
              <a:t>www.ivory-network.eu</a:t>
            </a:r>
          </a:p>
        </p:txBody>
      </p:sp>
      <p:sp>
        <p:nvSpPr>
          <p:cNvPr id="7" name="Slide Number Placeholder 5">
            <a:extLst>
              <a:ext uri="{FF2B5EF4-FFF2-40B4-BE49-F238E27FC236}">
                <a16:creationId xmlns:a16="http://schemas.microsoft.com/office/drawing/2014/main" id="{1606E7ED-1205-0C6A-C6E4-0FA90CB958A7}"/>
              </a:ext>
            </a:extLst>
          </p:cNvPr>
          <p:cNvSpPr>
            <a:spLocks noGrp="1"/>
          </p:cNvSpPr>
          <p:nvPr>
            <p:ph type="sldNum" sz="quarter" idx="15"/>
          </p:nvPr>
        </p:nvSpPr>
        <p:spPr/>
        <p:txBody>
          <a:bodyPr/>
          <a:lstStyle>
            <a:lvl1pPr>
              <a:defRPr/>
            </a:lvl1pPr>
          </a:lstStyle>
          <a:p>
            <a:pPr>
              <a:defRPr/>
            </a:pPr>
            <a:fld id="{209390CF-8702-4921-95BC-575EE82FC860}" type="slidenum">
              <a:rPr lang="en-GB"/>
              <a:pPr>
                <a:defRPr/>
              </a:pPr>
              <a:t>‹#›</a:t>
            </a:fld>
            <a:endParaRPr lang="en-GB"/>
          </a:p>
        </p:txBody>
      </p:sp>
    </p:spTree>
    <p:extLst>
      <p:ext uri="{BB962C8B-B14F-4D97-AF65-F5344CB8AC3E}">
        <p14:creationId xmlns:p14="http://schemas.microsoft.com/office/powerpoint/2010/main" val="31363596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F3A7073-E72D-3E59-FACD-3ABF770C2C7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9388" y="6162675"/>
            <a:ext cx="2314575"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5">
            <a:extLst>
              <a:ext uri="{FF2B5EF4-FFF2-40B4-BE49-F238E27FC236}">
                <a16:creationId xmlns:a16="http://schemas.microsoft.com/office/drawing/2014/main" id="{72B7D1C0-35FB-0B28-4196-2177420656C8}"/>
              </a:ext>
            </a:extLst>
          </p:cNvPr>
          <p:cNvSpPr>
            <a:spLocks noGrp="1"/>
          </p:cNvSpPr>
          <p:nvPr>
            <p:ph type="ftr" sz="quarter" idx="14"/>
          </p:nvPr>
        </p:nvSpPr>
        <p:spPr/>
        <p:txBody>
          <a:bodyPr/>
          <a:lstStyle>
            <a:lvl1pPr>
              <a:defRPr/>
            </a:lvl1pPr>
          </a:lstStyle>
          <a:p>
            <a:pPr>
              <a:defRPr/>
            </a:pPr>
            <a:r>
              <a:rPr lang="en-GB"/>
              <a:t>www.ivory-network.eu</a:t>
            </a:r>
          </a:p>
        </p:txBody>
      </p:sp>
      <p:sp>
        <p:nvSpPr>
          <p:cNvPr id="8" name="Slide Number Placeholder 6">
            <a:extLst>
              <a:ext uri="{FF2B5EF4-FFF2-40B4-BE49-F238E27FC236}">
                <a16:creationId xmlns:a16="http://schemas.microsoft.com/office/drawing/2014/main" id="{8CE8CA48-B6A3-4507-1BB7-EBBA06AD53CA}"/>
              </a:ext>
            </a:extLst>
          </p:cNvPr>
          <p:cNvSpPr>
            <a:spLocks noGrp="1"/>
          </p:cNvSpPr>
          <p:nvPr>
            <p:ph type="sldNum" sz="quarter" idx="15"/>
          </p:nvPr>
        </p:nvSpPr>
        <p:spPr/>
        <p:txBody>
          <a:bodyPr/>
          <a:lstStyle>
            <a:lvl1pPr>
              <a:defRPr/>
            </a:lvl1pPr>
          </a:lstStyle>
          <a:p>
            <a:pPr>
              <a:defRPr/>
            </a:pPr>
            <a:fld id="{44F87B77-B257-45D3-8C65-75BE759D60F9}" type="slidenum">
              <a:rPr lang="en-GB"/>
              <a:pPr>
                <a:defRPr/>
              </a:pPr>
              <a:t>‹#›</a:t>
            </a:fld>
            <a:endParaRPr lang="en-GB"/>
          </a:p>
        </p:txBody>
      </p:sp>
    </p:spTree>
    <p:extLst>
      <p:ext uri="{BB962C8B-B14F-4D97-AF65-F5344CB8AC3E}">
        <p14:creationId xmlns:p14="http://schemas.microsoft.com/office/powerpoint/2010/main" val="29665289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81B7B6E-AF3A-B64B-190F-FDF9E5DEB4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9388" y="6162675"/>
            <a:ext cx="2314575"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lvl1pPr>
              <a:buClr>
                <a:schemeClr val="accent4"/>
              </a:buClr>
              <a:defRPr/>
            </a:lvl1pPr>
            <a:lvl2pPr>
              <a:buClr>
                <a:schemeClr val="accent4"/>
              </a:buClr>
              <a:defRPr/>
            </a:lvl2pPr>
            <a:lvl3pPr>
              <a:buClr>
                <a:schemeClr val="accent4"/>
              </a:buClr>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lvl1pPr>
              <a:buClr>
                <a:schemeClr val="accent4"/>
              </a:buClr>
              <a:defRPr/>
            </a:lvl1pPr>
            <a:lvl2pPr>
              <a:buClr>
                <a:schemeClr val="accent4"/>
              </a:buClr>
              <a:defRPr/>
            </a:lvl2pPr>
            <a:lvl3pPr>
              <a:buClr>
                <a:schemeClr val="accent4"/>
              </a:buClr>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5">
            <a:extLst>
              <a:ext uri="{FF2B5EF4-FFF2-40B4-BE49-F238E27FC236}">
                <a16:creationId xmlns:a16="http://schemas.microsoft.com/office/drawing/2014/main" id="{5AB1E200-F29C-D367-B7AB-DA64C1A651B9}"/>
              </a:ext>
            </a:extLst>
          </p:cNvPr>
          <p:cNvSpPr>
            <a:spLocks noGrp="1"/>
          </p:cNvSpPr>
          <p:nvPr>
            <p:ph type="ftr" sz="quarter" idx="14"/>
          </p:nvPr>
        </p:nvSpPr>
        <p:spPr/>
        <p:txBody>
          <a:bodyPr/>
          <a:lstStyle>
            <a:lvl1pPr>
              <a:defRPr/>
            </a:lvl1pPr>
          </a:lstStyle>
          <a:p>
            <a:pPr>
              <a:defRPr/>
            </a:pPr>
            <a:r>
              <a:rPr lang="en-GB"/>
              <a:t>www.ivory-network.eu</a:t>
            </a:r>
          </a:p>
        </p:txBody>
      </p:sp>
      <p:sp>
        <p:nvSpPr>
          <p:cNvPr id="8" name="Slide Number Placeholder 6">
            <a:extLst>
              <a:ext uri="{FF2B5EF4-FFF2-40B4-BE49-F238E27FC236}">
                <a16:creationId xmlns:a16="http://schemas.microsoft.com/office/drawing/2014/main" id="{BBC3226A-B41B-7792-5C05-FEFCD41F372E}"/>
              </a:ext>
            </a:extLst>
          </p:cNvPr>
          <p:cNvSpPr>
            <a:spLocks noGrp="1"/>
          </p:cNvSpPr>
          <p:nvPr>
            <p:ph type="sldNum" sz="quarter" idx="15"/>
          </p:nvPr>
        </p:nvSpPr>
        <p:spPr/>
        <p:txBody>
          <a:bodyPr/>
          <a:lstStyle>
            <a:lvl1pPr>
              <a:defRPr/>
            </a:lvl1pPr>
          </a:lstStyle>
          <a:p>
            <a:pPr>
              <a:defRPr/>
            </a:pPr>
            <a:fld id="{02866D9E-99A9-4604-8FEC-8F274D4C2F13}" type="slidenum">
              <a:rPr lang="en-GB"/>
              <a:pPr>
                <a:defRPr/>
              </a:pPr>
              <a:t>‹#›</a:t>
            </a:fld>
            <a:endParaRPr lang="en-GB"/>
          </a:p>
        </p:txBody>
      </p:sp>
    </p:spTree>
    <p:extLst>
      <p:ext uri="{BB962C8B-B14F-4D97-AF65-F5344CB8AC3E}">
        <p14:creationId xmlns:p14="http://schemas.microsoft.com/office/powerpoint/2010/main" val="27206936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506D332-1BFF-A700-4250-7376A6B5D7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9388" y="6162675"/>
            <a:ext cx="2314575"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lvl1pPr>
              <a:buClr>
                <a:schemeClr val="accent5"/>
              </a:buClr>
              <a:defRPr/>
            </a:lvl1pPr>
            <a:lvl2pPr>
              <a:buClr>
                <a:schemeClr val="accent5"/>
              </a:buClr>
              <a:defRPr/>
            </a:lvl2pPr>
            <a:lvl3pPr>
              <a:buClr>
                <a:schemeClr val="accent5"/>
              </a:buClr>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lvl1pPr>
              <a:buClr>
                <a:schemeClr val="accent5"/>
              </a:buClr>
              <a:defRPr/>
            </a:lvl1pPr>
            <a:lvl2pPr>
              <a:buClr>
                <a:schemeClr val="accent5"/>
              </a:buClr>
              <a:defRPr/>
            </a:lvl2pPr>
            <a:lvl3pPr>
              <a:buClr>
                <a:schemeClr val="accent5"/>
              </a:buClr>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5">
            <a:extLst>
              <a:ext uri="{FF2B5EF4-FFF2-40B4-BE49-F238E27FC236}">
                <a16:creationId xmlns:a16="http://schemas.microsoft.com/office/drawing/2014/main" id="{DD6385E9-B6E7-3140-8DF1-ED6C793EA4C3}"/>
              </a:ext>
            </a:extLst>
          </p:cNvPr>
          <p:cNvSpPr>
            <a:spLocks noGrp="1"/>
          </p:cNvSpPr>
          <p:nvPr>
            <p:ph type="ftr" sz="quarter" idx="14"/>
          </p:nvPr>
        </p:nvSpPr>
        <p:spPr/>
        <p:txBody>
          <a:bodyPr/>
          <a:lstStyle>
            <a:lvl1pPr>
              <a:defRPr/>
            </a:lvl1pPr>
          </a:lstStyle>
          <a:p>
            <a:pPr>
              <a:defRPr/>
            </a:pPr>
            <a:r>
              <a:rPr lang="en-GB"/>
              <a:t>www.ivory-network.eu</a:t>
            </a:r>
          </a:p>
        </p:txBody>
      </p:sp>
      <p:sp>
        <p:nvSpPr>
          <p:cNvPr id="8" name="Slide Number Placeholder 6">
            <a:extLst>
              <a:ext uri="{FF2B5EF4-FFF2-40B4-BE49-F238E27FC236}">
                <a16:creationId xmlns:a16="http://schemas.microsoft.com/office/drawing/2014/main" id="{7D54DEB9-1EA7-8EDA-5AC1-B83DBC8B0D5C}"/>
              </a:ext>
            </a:extLst>
          </p:cNvPr>
          <p:cNvSpPr>
            <a:spLocks noGrp="1"/>
          </p:cNvSpPr>
          <p:nvPr>
            <p:ph type="sldNum" sz="quarter" idx="15"/>
          </p:nvPr>
        </p:nvSpPr>
        <p:spPr/>
        <p:txBody>
          <a:bodyPr/>
          <a:lstStyle>
            <a:lvl1pPr>
              <a:defRPr/>
            </a:lvl1pPr>
          </a:lstStyle>
          <a:p>
            <a:pPr>
              <a:defRPr/>
            </a:pPr>
            <a:fld id="{F26962BA-8B97-4B41-9ADB-CD821A99A820}" type="slidenum">
              <a:rPr lang="en-GB"/>
              <a:pPr>
                <a:defRPr/>
              </a:pPr>
              <a:t>‹#›</a:t>
            </a:fld>
            <a:endParaRPr lang="en-GB"/>
          </a:p>
        </p:txBody>
      </p:sp>
    </p:spTree>
    <p:extLst>
      <p:ext uri="{BB962C8B-B14F-4D97-AF65-F5344CB8AC3E}">
        <p14:creationId xmlns:p14="http://schemas.microsoft.com/office/powerpoint/2010/main" val="17236982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5">
            <a:extLst>
              <a:ext uri="{FF2B5EF4-FFF2-40B4-BE49-F238E27FC236}">
                <a16:creationId xmlns:a16="http://schemas.microsoft.com/office/drawing/2014/main" id="{A344AB6B-ED44-B73D-0D3F-EED352A27C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9388" y="6162675"/>
            <a:ext cx="2314575"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GB"/>
          </a:p>
        </p:txBody>
      </p:sp>
      <p:sp>
        <p:nvSpPr>
          <p:cNvPr id="3" name="Picture Placeholder 8"/>
          <p:cNvSpPr>
            <a:spLocks noGrp="1"/>
          </p:cNvSpPr>
          <p:nvPr>
            <p:ph type="pic" sz="quarter" idx="13"/>
          </p:nvPr>
        </p:nvSpPr>
        <p:spPr>
          <a:xfrm>
            <a:off x="8610600" y="6176963"/>
            <a:ext cx="2743200" cy="681037"/>
          </a:xfrm>
        </p:spPr>
        <p:txBody>
          <a:bodyPr rtlCol="0">
            <a:normAutofit/>
          </a:bodyPr>
          <a:lstStyle>
            <a:lvl1pPr marL="0" indent="0">
              <a:buNone/>
              <a:defRPr/>
            </a:lvl1pPr>
          </a:lstStyle>
          <a:p>
            <a:pPr lvl="0"/>
            <a:r>
              <a:rPr lang="en-US" noProof="0"/>
              <a:t>Click icon to add picture</a:t>
            </a:r>
            <a:endParaRPr lang="en-GB" noProof="0"/>
          </a:p>
        </p:txBody>
      </p:sp>
      <p:sp>
        <p:nvSpPr>
          <p:cNvPr id="5" name="Footer Placeholder 3">
            <a:extLst>
              <a:ext uri="{FF2B5EF4-FFF2-40B4-BE49-F238E27FC236}">
                <a16:creationId xmlns:a16="http://schemas.microsoft.com/office/drawing/2014/main" id="{B787BCFD-2CA4-ACB7-3BA0-AE025CBA99A7}"/>
              </a:ext>
            </a:extLst>
          </p:cNvPr>
          <p:cNvSpPr>
            <a:spLocks noGrp="1"/>
          </p:cNvSpPr>
          <p:nvPr>
            <p:ph type="ftr" sz="quarter" idx="14"/>
          </p:nvPr>
        </p:nvSpPr>
        <p:spPr/>
        <p:txBody>
          <a:bodyPr/>
          <a:lstStyle>
            <a:lvl1pPr>
              <a:defRPr/>
            </a:lvl1pPr>
          </a:lstStyle>
          <a:p>
            <a:pPr>
              <a:defRPr/>
            </a:pPr>
            <a:r>
              <a:rPr lang="en-GB"/>
              <a:t>www.ivory-network.eu</a:t>
            </a:r>
          </a:p>
        </p:txBody>
      </p:sp>
      <p:sp>
        <p:nvSpPr>
          <p:cNvPr id="6" name="Slide Number Placeholder 4">
            <a:extLst>
              <a:ext uri="{FF2B5EF4-FFF2-40B4-BE49-F238E27FC236}">
                <a16:creationId xmlns:a16="http://schemas.microsoft.com/office/drawing/2014/main" id="{FDD7AD9F-7A55-08F9-F41F-2089172A740B}"/>
              </a:ext>
            </a:extLst>
          </p:cNvPr>
          <p:cNvSpPr>
            <a:spLocks noGrp="1"/>
          </p:cNvSpPr>
          <p:nvPr>
            <p:ph type="sldNum" sz="quarter" idx="15"/>
          </p:nvPr>
        </p:nvSpPr>
        <p:spPr/>
        <p:txBody>
          <a:bodyPr/>
          <a:lstStyle>
            <a:lvl1pPr>
              <a:defRPr/>
            </a:lvl1pPr>
          </a:lstStyle>
          <a:p>
            <a:pPr>
              <a:defRPr/>
            </a:pPr>
            <a:fld id="{27CE8477-D448-4861-8451-F2D6800BF08B}" type="slidenum">
              <a:rPr lang="en-GB"/>
              <a:pPr>
                <a:defRPr/>
              </a:pPr>
              <a:t>‹#›</a:t>
            </a:fld>
            <a:endParaRPr lang="en-GB"/>
          </a:p>
        </p:txBody>
      </p:sp>
    </p:spTree>
    <p:extLst>
      <p:ext uri="{BB962C8B-B14F-4D97-AF65-F5344CB8AC3E}">
        <p14:creationId xmlns:p14="http://schemas.microsoft.com/office/powerpoint/2010/main" val="5376480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FBFB6042-360F-13B9-228E-3A5A1DDF6CDB}"/>
              </a:ext>
            </a:extLst>
          </p:cNvPr>
          <p:cNvSpPr>
            <a:spLocks noGrp="1" noChangeArrowheads="1"/>
          </p:cNvSpPr>
          <p:nvPr>
            <p:ph type="title"/>
          </p:nvPr>
        </p:nvSpPr>
        <p:spPr bwMode="auto">
          <a:xfrm>
            <a:off x="838200" y="365125"/>
            <a:ext cx="105156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
        <p:nvSpPr>
          <p:cNvPr id="1027" name="Text Placeholder 2">
            <a:extLst>
              <a:ext uri="{FF2B5EF4-FFF2-40B4-BE49-F238E27FC236}">
                <a16:creationId xmlns:a16="http://schemas.microsoft.com/office/drawing/2014/main" id="{0AF95431-62AF-B9E7-BC67-4A4AB4587FAA}"/>
              </a:ext>
            </a:extLst>
          </p:cNvPr>
          <p:cNvSpPr>
            <a:spLocks noGrp="1" noChangeArrowheads="1"/>
          </p:cNvSpPr>
          <p:nvPr>
            <p:ph type="body" idx="1"/>
          </p:nvPr>
        </p:nvSpPr>
        <p:spPr bwMode="auto">
          <a:xfrm>
            <a:off x="838200" y="1600200"/>
            <a:ext cx="10515600" cy="457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0"/>
            <a:endParaRPr lang="en-GB" altLang="en-US"/>
          </a:p>
          <a:p>
            <a:pPr lvl="2"/>
            <a:endParaRPr lang="en-GB" altLang="en-US"/>
          </a:p>
          <a:p>
            <a:pPr lvl="2"/>
            <a:endParaRPr lang="en-GB" altLang="en-US"/>
          </a:p>
          <a:p>
            <a:pPr lvl="2"/>
            <a:endParaRPr lang="en-GB" altLang="en-US"/>
          </a:p>
        </p:txBody>
      </p:sp>
      <p:sp>
        <p:nvSpPr>
          <p:cNvPr id="1028" name="TextBox 9">
            <a:extLst>
              <a:ext uri="{FF2B5EF4-FFF2-40B4-BE49-F238E27FC236}">
                <a16:creationId xmlns:a16="http://schemas.microsoft.com/office/drawing/2014/main" id="{88D54967-5542-73EE-E4B7-8C23D2AAF646}"/>
              </a:ext>
            </a:extLst>
          </p:cNvPr>
          <p:cNvSpPr txBox="1">
            <a:spLocks noChangeArrowheads="1"/>
          </p:cNvSpPr>
          <p:nvPr/>
        </p:nvSpPr>
        <p:spPr bwMode="auto">
          <a:xfrm>
            <a:off x="1277938" y="6351588"/>
            <a:ext cx="24272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just" eaLnBrk="1" hangingPunct="1">
              <a:spcAft>
                <a:spcPts val="800"/>
              </a:spcAft>
            </a:pPr>
            <a:r>
              <a:rPr lang="en-GB" altLang="en-US" sz="800">
                <a:solidFill>
                  <a:srgbClr val="808080"/>
                </a:solidFill>
                <a:latin typeface="Arial" panose="020B0604020202020204" pitchFamily="34" charset="0"/>
                <a:ea typeface="Times New Roman" panose="02020603050405020304" pitchFamily="18" charset="0"/>
                <a:cs typeface="Arial" panose="020B0604020202020204" pitchFamily="34" charset="0"/>
              </a:rPr>
              <a:t>This project has received funding from the European Union’s Horizon Europe research and innovation programme under grant agreement No 101119590</a:t>
            </a:r>
            <a:endParaRPr lang="nl-BE" altLang="en-US" sz="800">
              <a:solidFill>
                <a:srgbClr val="808080"/>
              </a:solidFill>
              <a:latin typeface="Arial" panose="020B0604020202020204" pitchFamily="34" charset="0"/>
              <a:ea typeface="Times New Roman" panose="02020603050405020304" pitchFamily="18" charset="0"/>
              <a:cs typeface="Arial" panose="020B0604020202020204" pitchFamily="34" charset="0"/>
            </a:endParaRPr>
          </a:p>
        </p:txBody>
      </p:sp>
      <p:pic>
        <p:nvPicPr>
          <p:cNvPr id="1029" name="Picture 10" descr="flag_yellow_high.jpg">
            <a:extLst>
              <a:ext uri="{FF2B5EF4-FFF2-40B4-BE49-F238E27FC236}">
                <a16:creationId xmlns:a16="http://schemas.microsoft.com/office/drawing/2014/main" id="{96127130-B36B-A7FF-7CAF-81CE4B4D230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63550" y="6245225"/>
            <a:ext cx="76358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Footer Placeholder 11">
            <a:extLst>
              <a:ext uri="{FF2B5EF4-FFF2-40B4-BE49-F238E27FC236}">
                <a16:creationId xmlns:a16="http://schemas.microsoft.com/office/drawing/2014/main" id="{E780DDFB-7695-C035-67F9-1EC83C17716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600" b="1" dirty="0">
                <a:solidFill>
                  <a:schemeClr val="accent2"/>
                </a:solidFill>
                <a:latin typeface="+mn-lt"/>
              </a:defRPr>
            </a:lvl1pPr>
          </a:lstStyle>
          <a:p>
            <a:pPr>
              <a:defRPr/>
            </a:pPr>
            <a:r>
              <a:rPr lang="en-GB"/>
              <a:t>www.ivory-network.eu</a:t>
            </a:r>
          </a:p>
        </p:txBody>
      </p:sp>
      <p:sp>
        <p:nvSpPr>
          <p:cNvPr id="13" name="Slide Number Placeholder 12">
            <a:extLst>
              <a:ext uri="{FF2B5EF4-FFF2-40B4-BE49-F238E27FC236}">
                <a16:creationId xmlns:a16="http://schemas.microsoft.com/office/drawing/2014/main" id="{14DED33F-5571-B2A0-ADE6-212372C27B1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600" b="1" smtClean="0">
                <a:solidFill>
                  <a:schemeClr val="accent2"/>
                </a:solidFill>
                <a:latin typeface="+mn-lt"/>
              </a:defRPr>
            </a:lvl1pPr>
          </a:lstStyle>
          <a:p>
            <a:pPr>
              <a:defRPr/>
            </a:pPr>
            <a:fld id="{1E6A180F-D728-43F2-8A1E-48877654AF7D}" type="slidenum">
              <a:rPr lang="en-GB"/>
              <a:pPr>
                <a:defRPr/>
              </a:pPr>
              <a:t>‹#›</a:t>
            </a:fld>
            <a:endParaRPr lang="en-GB"/>
          </a:p>
        </p:txBody>
      </p:sp>
      <p:sp>
        <p:nvSpPr>
          <p:cNvPr id="1032" name="TextBox 9">
            <a:extLst>
              <a:ext uri="{FF2B5EF4-FFF2-40B4-BE49-F238E27FC236}">
                <a16:creationId xmlns:a16="http://schemas.microsoft.com/office/drawing/2014/main" id="{B2130842-137B-FA5D-9767-9C9182B8EE3E}"/>
              </a:ext>
            </a:extLst>
          </p:cNvPr>
          <p:cNvSpPr txBox="1">
            <a:spLocks noChangeArrowheads="1"/>
          </p:cNvSpPr>
          <p:nvPr/>
        </p:nvSpPr>
        <p:spPr bwMode="auto">
          <a:xfrm>
            <a:off x="1277938" y="6351588"/>
            <a:ext cx="24272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just" eaLnBrk="1" hangingPunct="1">
              <a:spcAft>
                <a:spcPts val="800"/>
              </a:spcAft>
            </a:pPr>
            <a:r>
              <a:rPr lang="en-GB" altLang="en-US" sz="800">
                <a:solidFill>
                  <a:srgbClr val="808080"/>
                </a:solidFill>
                <a:latin typeface="Arial" panose="020B0604020202020204" pitchFamily="34" charset="0"/>
                <a:ea typeface="Times New Roman" panose="02020603050405020304" pitchFamily="18" charset="0"/>
                <a:cs typeface="Arial" panose="020B0604020202020204" pitchFamily="34" charset="0"/>
              </a:rPr>
              <a:t>This project has received funding from the European Union’s Horizon Europe research and innovation programme under grant agreement No 101119590</a:t>
            </a:r>
            <a:endParaRPr lang="nl-BE" altLang="en-US" sz="800">
              <a:solidFill>
                <a:srgbClr val="808080"/>
              </a:solidFill>
              <a:latin typeface="Arial" panose="020B0604020202020204" pitchFamily="34" charset="0"/>
              <a:ea typeface="Times New Roman" panose="02020603050405020304" pitchFamily="18" charset="0"/>
              <a:cs typeface="Arial" panose="020B0604020202020204" pitchFamily="34" charset="0"/>
            </a:endParaRPr>
          </a:p>
        </p:txBody>
      </p:sp>
      <p:pic>
        <p:nvPicPr>
          <p:cNvPr id="1033" name="Picture 10" descr="flag_yellow_high.jpg">
            <a:extLst>
              <a:ext uri="{FF2B5EF4-FFF2-40B4-BE49-F238E27FC236}">
                <a16:creationId xmlns:a16="http://schemas.microsoft.com/office/drawing/2014/main" id="{4D562E26-B853-629E-5B7E-49DF75FEA7A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63550" y="6245225"/>
            <a:ext cx="76358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Lst>
  <p:hf sldNum="0" hdr="0" dt="0"/>
  <p:txStyles>
    <p:titleStyle>
      <a:lvl1pPr algn="l" rtl="0" eaLnBrk="1" fontAlgn="base" hangingPunct="1">
        <a:lnSpc>
          <a:spcPct val="90000"/>
        </a:lnSpc>
        <a:spcBef>
          <a:spcPct val="0"/>
        </a:spcBef>
        <a:spcAft>
          <a:spcPct val="0"/>
        </a:spcAft>
        <a:defRPr sz="4400" b="1" kern="1200">
          <a:solidFill>
            <a:schemeClr val="accent1"/>
          </a:solidFill>
          <a:latin typeface="+mn-lt"/>
          <a:ea typeface="+mj-ea"/>
          <a:cs typeface="+mj-cs"/>
        </a:defRPr>
      </a:lvl1pPr>
      <a:lvl2pPr algn="l" rtl="0" eaLnBrk="1" fontAlgn="base" hangingPunct="1">
        <a:lnSpc>
          <a:spcPct val="90000"/>
        </a:lnSpc>
        <a:spcBef>
          <a:spcPct val="0"/>
        </a:spcBef>
        <a:spcAft>
          <a:spcPct val="0"/>
        </a:spcAft>
        <a:defRPr sz="4400" b="1">
          <a:solidFill>
            <a:schemeClr val="accent1"/>
          </a:solidFill>
          <a:latin typeface="Calibri" panose="020F0502020204030204" pitchFamily="34" charset="0"/>
        </a:defRPr>
      </a:lvl2pPr>
      <a:lvl3pPr algn="l" rtl="0" eaLnBrk="1" fontAlgn="base" hangingPunct="1">
        <a:lnSpc>
          <a:spcPct val="90000"/>
        </a:lnSpc>
        <a:spcBef>
          <a:spcPct val="0"/>
        </a:spcBef>
        <a:spcAft>
          <a:spcPct val="0"/>
        </a:spcAft>
        <a:defRPr sz="4400" b="1">
          <a:solidFill>
            <a:schemeClr val="accent1"/>
          </a:solidFill>
          <a:latin typeface="Calibri" panose="020F0502020204030204" pitchFamily="34" charset="0"/>
        </a:defRPr>
      </a:lvl3pPr>
      <a:lvl4pPr algn="l" rtl="0" eaLnBrk="1" fontAlgn="base" hangingPunct="1">
        <a:lnSpc>
          <a:spcPct val="90000"/>
        </a:lnSpc>
        <a:spcBef>
          <a:spcPct val="0"/>
        </a:spcBef>
        <a:spcAft>
          <a:spcPct val="0"/>
        </a:spcAft>
        <a:defRPr sz="4400" b="1">
          <a:solidFill>
            <a:schemeClr val="accent1"/>
          </a:solidFill>
          <a:latin typeface="Calibri" panose="020F0502020204030204" pitchFamily="34" charset="0"/>
        </a:defRPr>
      </a:lvl4pPr>
      <a:lvl5pPr algn="l" rtl="0" eaLnBrk="1" fontAlgn="base" hangingPunct="1">
        <a:lnSpc>
          <a:spcPct val="90000"/>
        </a:lnSpc>
        <a:spcBef>
          <a:spcPct val="0"/>
        </a:spcBef>
        <a:spcAft>
          <a:spcPct val="0"/>
        </a:spcAft>
        <a:defRPr sz="4400" b="1">
          <a:solidFill>
            <a:schemeClr val="accent1"/>
          </a:solidFill>
          <a:latin typeface="Calibri" panose="020F0502020204030204" pitchFamily="34" charset="0"/>
        </a:defRPr>
      </a:lvl5pPr>
      <a:lvl6pPr marL="457200" algn="l" rtl="0" eaLnBrk="1" fontAlgn="base" hangingPunct="1">
        <a:lnSpc>
          <a:spcPct val="90000"/>
        </a:lnSpc>
        <a:spcBef>
          <a:spcPct val="0"/>
        </a:spcBef>
        <a:spcAft>
          <a:spcPct val="0"/>
        </a:spcAft>
        <a:defRPr sz="4400" b="1">
          <a:solidFill>
            <a:schemeClr val="accent1"/>
          </a:solidFill>
          <a:latin typeface="Calibri" panose="020F0502020204030204" pitchFamily="34" charset="0"/>
        </a:defRPr>
      </a:lvl6pPr>
      <a:lvl7pPr marL="914400" algn="l" rtl="0" eaLnBrk="1" fontAlgn="base" hangingPunct="1">
        <a:lnSpc>
          <a:spcPct val="90000"/>
        </a:lnSpc>
        <a:spcBef>
          <a:spcPct val="0"/>
        </a:spcBef>
        <a:spcAft>
          <a:spcPct val="0"/>
        </a:spcAft>
        <a:defRPr sz="4400" b="1">
          <a:solidFill>
            <a:schemeClr val="accent1"/>
          </a:solidFill>
          <a:latin typeface="Calibri" panose="020F0502020204030204" pitchFamily="34" charset="0"/>
        </a:defRPr>
      </a:lvl7pPr>
      <a:lvl8pPr marL="1371600" algn="l" rtl="0" eaLnBrk="1" fontAlgn="base" hangingPunct="1">
        <a:lnSpc>
          <a:spcPct val="90000"/>
        </a:lnSpc>
        <a:spcBef>
          <a:spcPct val="0"/>
        </a:spcBef>
        <a:spcAft>
          <a:spcPct val="0"/>
        </a:spcAft>
        <a:defRPr sz="4400" b="1">
          <a:solidFill>
            <a:schemeClr val="accent1"/>
          </a:solidFill>
          <a:latin typeface="Calibri" panose="020F0502020204030204" pitchFamily="34" charset="0"/>
        </a:defRPr>
      </a:lvl8pPr>
      <a:lvl9pPr marL="1828800" algn="l" rtl="0" eaLnBrk="1" fontAlgn="base" hangingPunct="1">
        <a:lnSpc>
          <a:spcPct val="90000"/>
        </a:lnSpc>
        <a:spcBef>
          <a:spcPct val="0"/>
        </a:spcBef>
        <a:spcAft>
          <a:spcPct val="0"/>
        </a:spcAft>
        <a:defRPr sz="4400" b="1">
          <a:solidFill>
            <a:schemeClr val="accent1"/>
          </a:solidFill>
          <a:latin typeface="Calibri" panose="020F0502020204030204" pitchFamily="34" charset="0"/>
        </a:defRPr>
      </a:lvl9pPr>
    </p:titleStyle>
    <p:bodyStyle>
      <a:lvl1pPr marL="357188" indent="-357188" algn="l" rtl="0" eaLnBrk="1" fontAlgn="base" hangingPunct="1">
        <a:lnSpc>
          <a:spcPct val="90000"/>
        </a:lnSpc>
        <a:spcBef>
          <a:spcPts val="1000"/>
        </a:spcBef>
        <a:spcAft>
          <a:spcPct val="0"/>
        </a:spcAft>
        <a:buClr>
          <a:srgbClr val="ADB9CA"/>
        </a:buClr>
        <a:buSzPct val="90000"/>
        <a:buFont typeface="Wingdings" panose="05000000000000000000" pitchFamily="2" charset="2"/>
        <a:buChar char="v"/>
        <a:defRPr sz="2800" kern="1200">
          <a:solidFill>
            <a:schemeClr val="tx1"/>
          </a:solidFill>
          <a:latin typeface="+mn-lt"/>
          <a:ea typeface="+mn-ea"/>
          <a:cs typeface="+mn-cs"/>
        </a:defRPr>
      </a:lvl1pPr>
      <a:lvl2pPr marL="712788" indent="-255588" algn="l" rtl="0" eaLnBrk="1" fontAlgn="base" hangingPunct="1">
        <a:lnSpc>
          <a:spcPct val="90000"/>
        </a:lnSpc>
        <a:spcBef>
          <a:spcPts val="500"/>
        </a:spcBef>
        <a:spcAft>
          <a:spcPct val="0"/>
        </a:spcAft>
        <a:buClr>
          <a:srgbClr val="B8C3D1"/>
        </a:buClr>
        <a:buSzPct val="90000"/>
        <a:buFont typeface="Courier New" panose="02070309020205020404" pitchFamily="49" charset="0"/>
        <a:buChar char="o"/>
        <a:defRPr sz="2400" kern="1200">
          <a:solidFill>
            <a:schemeClr val="tx1"/>
          </a:solidFill>
          <a:latin typeface="+mn-lt"/>
          <a:ea typeface="+mn-ea"/>
          <a:cs typeface="+mn-cs"/>
        </a:defRPr>
      </a:lvl2pPr>
      <a:lvl3pPr marL="1162050" indent="-247650" algn="l" rtl="0" eaLnBrk="1" fontAlgn="base" hangingPunct="1">
        <a:lnSpc>
          <a:spcPct val="90000"/>
        </a:lnSpc>
        <a:spcBef>
          <a:spcPts val="500"/>
        </a:spcBef>
        <a:spcAft>
          <a:spcPct val="0"/>
        </a:spcAft>
        <a:buClr>
          <a:srgbClr val="B8C3D1"/>
        </a:buClr>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19.jpe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jpeg"/><Relationship Id="rId4" Type="http://schemas.openxmlformats.org/officeDocument/2006/relationships/image" Target="../media/image20.png"/><Relationship Id="rId9" Type="http://schemas.openxmlformats.org/officeDocument/2006/relationships/image" Target="../media/image25.png"/></Relationships>
</file>

<file path=ppt/slides/_rels/slide15.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svg"/><Relationship Id="rId3" Type="http://schemas.openxmlformats.org/officeDocument/2006/relationships/image" Target="../media/image27.svg"/><Relationship Id="rId7" Type="http://schemas.openxmlformats.org/officeDocument/2006/relationships/image" Target="../media/image31.svg"/><Relationship Id="rId12"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Layout" Target="../slideLayouts/slideLayout2.xml"/><Relationship Id="rId6" Type="http://schemas.openxmlformats.org/officeDocument/2006/relationships/image" Target="../media/image30.png"/><Relationship Id="rId11" Type="http://schemas.openxmlformats.org/officeDocument/2006/relationships/image" Target="../media/image35.svg"/><Relationship Id="rId5" Type="http://schemas.openxmlformats.org/officeDocument/2006/relationships/image" Target="../media/image29.sv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svg"/></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47.png"/></Relationships>
</file>

<file path=ppt/slides/_rels/slide1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slides/_rels/slide2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4.xml"/><Relationship Id="rId1" Type="http://schemas.openxmlformats.org/officeDocument/2006/relationships/tags" Target="../tags/tag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4.xml"/><Relationship Id="rId1" Type="http://schemas.openxmlformats.org/officeDocument/2006/relationships/tags" Target="../tags/tag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7.svg"/><Relationship Id="rId2" Type="http://schemas.openxmlformats.org/officeDocument/2006/relationships/slideLayout" Target="../slideLayouts/slideLayout14.xml"/><Relationship Id="rId1" Type="http://schemas.openxmlformats.org/officeDocument/2006/relationships/tags" Target="../tags/tag5.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BA9C95B1-529A-D0BA-097C-E4CA1D6F2BD8}"/>
              </a:ext>
            </a:extLst>
          </p:cNvPr>
          <p:cNvSpPr>
            <a:spLocks noGrp="1"/>
          </p:cNvSpPr>
          <p:nvPr>
            <p:ph type="ctrTitle"/>
          </p:nvPr>
        </p:nvSpPr>
        <p:spPr>
          <a:xfrm>
            <a:off x="393107" y="316193"/>
            <a:ext cx="11382998" cy="4275057"/>
          </a:xfrm>
        </p:spPr>
        <p:txBody>
          <a:bodyPr/>
          <a:lstStyle/>
          <a:p>
            <a:r>
              <a:rPr lang="en-US" b="0" dirty="0"/>
              <a:t>Ensuring ethical AI in road safety: From theory to practice</a:t>
            </a:r>
            <a:endParaRPr lang="nl-BE" b="0" dirty="0"/>
          </a:p>
        </p:txBody>
      </p:sp>
      <p:sp>
        <p:nvSpPr>
          <p:cNvPr id="10" name="Ondertitel 9">
            <a:extLst>
              <a:ext uri="{FF2B5EF4-FFF2-40B4-BE49-F238E27FC236}">
                <a16:creationId xmlns:a16="http://schemas.microsoft.com/office/drawing/2014/main" id="{E084966E-D7F5-D7A2-81A4-08A3C3A3ABED}"/>
              </a:ext>
            </a:extLst>
          </p:cNvPr>
          <p:cNvSpPr>
            <a:spLocks noGrp="1"/>
          </p:cNvSpPr>
          <p:nvPr>
            <p:ph type="subTitle" idx="1"/>
          </p:nvPr>
        </p:nvSpPr>
        <p:spPr>
          <a:xfrm>
            <a:off x="672240" y="4343399"/>
            <a:ext cx="11382998" cy="1710891"/>
          </a:xfrm>
        </p:spPr>
        <p:txBody>
          <a:bodyPr/>
          <a:lstStyle/>
          <a:p>
            <a:br>
              <a:rPr lang="en-US" sz="2800" dirty="0"/>
            </a:br>
            <a:r>
              <a:rPr lang="nl-BE" sz="2800" dirty="0"/>
              <a:t>Amir Pooyan Afghari, Bahareh Khajehpour, Amirhossein Hassani</a:t>
            </a:r>
            <a:endParaRPr lang="nl-BE" sz="2800" dirty="0">
              <a:effectLst/>
            </a:endParaRPr>
          </a:p>
          <a:p>
            <a:r>
              <a:rPr lang="en-GB" sz="1800" dirty="0"/>
              <a:t>15 April 2026, Athens</a:t>
            </a:r>
          </a:p>
          <a:p>
            <a:endParaRPr lang="nl-BE" dirty="0"/>
          </a:p>
        </p:txBody>
      </p:sp>
      <p:sp>
        <p:nvSpPr>
          <p:cNvPr id="6" name="Tijdelijke aanduiding voor voettekst 5">
            <a:extLst>
              <a:ext uri="{FF2B5EF4-FFF2-40B4-BE49-F238E27FC236}">
                <a16:creationId xmlns:a16="http://schemas.microsoft.com/office/drawing/2014/main" id="{B6DB1CA4-7D26-AD39-741B-F5B0F848858C}"/>
              </a:ext>
            </a:extLst>
          </p:cNvPr>
          <p:cNvSpPr>
            <a:spLocks noGrp="1"/>
          </p:cNvSpPr>
          <p:nvPr>
            <p:ph type="ftr" sz="quarter" idx="14"/>
          </p:nvPr>
        </p:nvSpPr>
        <p:spPr/>
        <p:txBody>
          <a:bodyPr/>
          <a:lstStyle/>
          <a:p>
            <a:pPr>
              <a:defRPr/>
            </a:pPr>
            <a:r>
              <a:rPr lang="en-GB"/>
              <a:t>www.ivory-network.eu</a:t>
            </a:r>
          </a:p>
        </p:txBody>
      </p:sp>
    </p:spTree>
    <p:extLst>
      <p:ext uri="{BB962C8B-B14F-4D97-AF65-F5344CB8AC3E}">
        <p14:creationId xmlns:p14="http://schemas.microsoft.com/office/powerpoint/2010/main" val="1096618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37C25-012E-C7FC-371F-15F7232B9A10}"/>
              </a:ext>
            </a:extLst>
          </p:cNvPr>
          <p:cNvSpPr>
            <a:spLocks noGrp="1"/>
          </p:cNvSpPr>
          <p:nvPr>
            <p:ph type="title"/>
          </p:nvPr>
        </p:nvSpPr>
        <p:spPr/>
        <p:txBody>
          <a:bodyPr/>
          <a:lstStyle/>
          <a:p>
            <a:endParaRPr lang="en-US"/>
          </a:p>
        </p:txBody>
      </p:sp>
      <p:sp>
        <p:nvSpPr>
          <p:cNvPr id="4" name="Title 1">
            <a:extLst>
              <a:ext uri="{FF2B5EF4-FFF2-40B4-BE49-F238E27FC236}">
                <a16:creationId xmlns:a16="http://schemas.microsoft.com/office/drawing/2014/main" id="{938CB4E0-FC35-6A20-89DF-62BA9969BF37}"/>
              </a:ext>
            </a:extLst>
          </p:cNvPr>
          <p:cNvSpPr txBox="1">
            <a:spLocks/>
          </p:cNvSpPr>
          <p:nvPr/>
        </p:nvSpPr>
        <p:spPr bwMode="auto">
          <a:xfrm>
            <a:off x="838200" y="397478"/>
            <a:ext cx="6165021" cy="492443"/>
          </a:xfrm>
          <a:prstGeom prst="rect">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gn="l" rtl="0" eaLnBrk="1" fontAlgn="base" hangingPunct="1">
              <a:lnSpc>
                <a:spcPct val="100000"/>
              </a:lnSpc>
              <a:spcBef>
                <a:spcPct val="0"/>
              </a:spcBef>
              <a:spcAft>
                <a:spcPct val="0"/>
              </a:spcAft>
              <a:defRPr lang="nl-NL" sz="1800" b="1" kern="1200" cap="none" baseline="0">
                <a:solidFill>
                  <a:schemeClr val="accent1"/>
                </a:solidFill>
                <a:latin typeface="+mj-lt"/>
                <a:ea typeface="+mn-ea"/>
                <a:cs typeface="+mn-cs"/>
              </a:defRPr>
            </a:lvl1pPr>
            <a:lvl2pPr algn="l" rtl="0" eaLnBrk="1" fontAlgn="base" hangingPunct="1">
              <a:lnSpc>
                <a:spcPct val="90000"/>
              </a:lnSpc>
              <a:spcBef>
                <a:spcPct val="0"/>
              </a:spcBef>
              <a:spcAft>
                <a:spcPct val="0"/>
              </a:spcAft>
              <a:defRPr sz="4400" b="1">
                <a:solidFill>
                  <a:schemeClr val="lt1"/>
                </a:solidFill>
                <a:latin typeface="+mn-lt"/>
                <a:ea typeface="+mn-ea"/>
                <a:cs typeface="+mn-cs"/>
              </a:defRPr>
            </a:lvl2pPr>
            <a:lvl3pPr algn="l" rtl="0" eaLnBrk="1" fontAlgn="base" hangingPunct="1">
              <a:lnSpc>
                <a:spcPct val="90000"/>
              </a:lnSpc>
              <a:spcBef>
                <a:spcPct val="0"/>
              </a:spcBef>
              <a:spcAft>
                <a:spcPct val="0"/>
              </a:spcAft>
              <a:defRPr sz="4400" b="1">
                <a:solidFill>
                  <a:schemeClr val="lt1"/>
                </a:solidFill>
                <a:latin typeface="+mn-lt"/>
                <a:ea typeface="+mn-ea"/>
                <a:cs typeface="+mn-cs"/>
              </a:defRPr>
            </a:lvl3pPr>
            <a:lvl4pPr algn="l" rtl="0" eaLnBrk="1" fontAlgn="base" hangingPunct="1">
              <a:lnSpc>
                <a:spcPct val="90000"/>
              </a:lnSpc>
              <a:spcBef>
                <a:spcPct val="0"/>
              </a:spcBef>
              <a:spcAft>
                <a:spcPct val="0"/>
              </a:spcAft>
              <a:defRPr sz="4400" b="1">
                <a:solidFill>
                  <a:schemeClr val="lt1"/>
                </a:solidFill>
                <a:latin typeface="+mn-lt"/>
                <a:ea typeface="+mn-ea"/>
                <a:cs typeface="+mn-cs"/>
              </a:defRPr>
            </a:lvl4pPr>
            <a:lvl5pPr algn="l" rtl="0" eaLnBrk="1" fontAlgn="base" hangingPunct="1">
              <a:lnSpc>
                <a:spcPct val="90000"/>
              </a:lnSpc>
              <a:spcBef>
                <a:spcPct val="0"/>
              </a:spcBef>
              <a:spcAft>
                <a:spcPct val="0"/>
              </a:spcAft>
              <a:defRPr sz="4400" b="1">
                <a:solidFill>
                  <a:schemeClr val="lt1"/>
                </a:solidFill>
                <a:latin typeface="+mn-lt"/>
                <a:ea typeface="+mn-ea"/>
                <a:cs typeface="+mn-cs"/>
              </a:defRPr>
            </a:lvl5pPr>
            <a:lvl6pPr marL="457200" algn="l" rtl="0" eaLnBrk="1" fontAlgn="base" hangingPunct="1">
              <a:lnSpc>
                <a:spcPct val="90000"/>
              </a:lnSpc>
              <a:spcBef>
                <a:spcPct val="0"/>
              </a:spcBef>
              <a:spcAft>
                <a:spcPct val="0"/>
              </a:spcAft>
              <a:defRPr sz="4400" b="1">
                <a:solidFill>
                  <a:schemeClr val="lt1"/>
                </a:solidFill>
                <a:latin typeface="+mn-lt"/>
                <a:ea typeface="+mn-ea"/>
                <a:cs typeface="+mn-cs"/>
              </a:defRPr>
            </a:lvl6pPr>
            <a:lvl7pPr marL="914400" algn="l" rtl="0" eaLnBrk="1" fontAlgn="base" hangingPunct="1">
              <a:lnSpc>
                <a:spcPct val="90000"/>
              </a:lnSpc>
              <a:spcBef>
                <a:spcPct val="0"/>
              </a:spcBef>
              <a:spcAft>
                <a:spcPct val="0"/>
              </a:spcAft>
              <a:defRPr sz="4400" b="1">
                <a:solidFill>
                  <a:schemeClr val="lt1"/>
                </a:solidFill>
                <a:latin typeface="+mn-lt"/>
                <a:ea typeface="+mn-ea"/>
                <a:cs typeface="+mn-cs"/>
              </a:defRPr>
            </a:lvl7pPr>
            <a:lvl8pPr marL="1371600" algn="l" rtl="0" eaLnBrk="1" fontAlgn="base" hangingPunct="1">
              <a:lnSpc>
                <a:spcPct val="90000"/>
              </a:lnSpc>
              <a:spcBef>
                <a:spcPct val="0"/>
              </a:spcBef>
              <a:spcAft>
                <a:spcPct val="0"/>
              </a:spcAft>
              <a:defRPr sz="4400" b="1">
                <a:solidFill>
                  <a:schemeClr val="lt1"/>
                </a:solidFill>
                <a:latin typeface="+mn-lt"/>
                <a:ea typeface="+mn-ea"/>
                <a:cs typeface="+mn-cs"/>
              </a:defRPr>
            </a:lvl8pPr>
            <a:lvl9pPr marL="1828800" algn="l" rtl="0" eaLnBrk="1" fontAlgn="base" hangingPunct="1">
              <a:lnSpc>
                <a:spcPct val="90000"/>
              </a:lnSpc>
              <a:spcBef>
                <a:spcPct val="0"/>
              </a:spcBef>
              <a:spcAft>
                <a:spcPct val="0"/>
              </a:spcAft>
              <a:defRPr sz="4400" b="1">
                <a:solidFill>
                  <a:schemeClr val="lt1"/>
                </a:solidFill>
                <a:latin typeface="+mn-lt"/>
                <a:ea typeface="+mn-ea"/>
                <a:cs typeface="+mn-cs"/>
              </a:defRPr>
            </a:lvl9pPr>
          </a:lstStyle>
          <a:p>
            <a:r>
              <a:rPr lang="en-US" sz="3200"/>
              <a:t>Translating ethics theory into practice</a:t>
            </a:r>
          </a:p>
        </p:txBody>
      </p:sp>
      <p:sp>
        <p:nvSpPr>
          <p:cNvPr id="6" name="Content Placeholder 2">
            <a:extLst>
              <a:ext uri="{FF2B5EF4-FFF2-40B4-BE49-F238E27FC236}">
                <a16:creationId xmlns:a16="http://schemas.microsoft.com/office/drawing/2014/main" id="{F2857AE9-6EC1-064C-DB8F-FC50D9FAA4ED}"/>
              </a:ext>
            </a:extLst>
          </p:cNvPr>
          <p:cNvSpPr txBox="1">
            <a:spLocks/>
          </p:cNvSpPr>
          <p:nvPr/>
        </p:nvSpPr>
        <p:spPr>
          <a:xfrm>
            <a:off x="866954" y="1169956"/>
            <a:ext cx="10486846" cy="4347054"/>
          </a:xfrm>
          <a:prstGeom prst="rect">
            <a:avLst/>
          </a:prstGeom>
        </p:spPr>
        <p:txBody>
          <a:bodyPr lIns="91440" tIns="45720" rIns="91440" bIns="45720" anchor="t"/>
          <a:lstStyle>
            <a:lvl1pPr marL="357188" indent="-357188" algn="l" rtl="0" eaLnBrk="1" fontAlgn="base" hangingPunct="1">
              <a:lnSpc>
                <a:spcPct val="90000"/>
              </a:lnSpc>
              <a:spcBef>
                <a:spcPts val="1000"/>
              </a:spcBef>
              <a:spcAft>
                <a:spcPct val="0"/>
              </a:spcAft>
              <a:buClr>
                <a:srgbClr val="ADB9CA"/>
              </a:buClr>
              <a:buSzPct val="90000"/>
              <a:buFont typeface="Wingdings" panose="05000000000000000000" pitchFamily="2" charset="2"/>
              <a:buChar char="v"/>
              <a:defRPr sz="2800" kern="1200">
                <a:solidFill>
                  <a:schemeClr val="tx1"/>
                </a:solidFill>
                <a:latin typeface="+mn-lt"/>
                <a:ea typeface="+mn-ea"/>
                <a:cs typeface="+mn-cs"/>
              </a:defRPr>
            </a:lvl1pPr>
            <a:lvl2pPr marL="712788" indent="-255588" algn="l" rtl="0" eaLnBrk="1" fontAlgn="base" hangingPunct="1">
              <a:lnSpc>
                <a:spcPct val="90000"/>
              </a:lnSpc>
              <a:spcBef>
                <a:spcPts val="500"/>
              </a:spcBef>
              <a:spcAft>
                <a:spcPct val="0"/>
              </a:spcAft>
              <a:buClr>
                <a:srgbClr val="B8C3D1"/>
              </a:buClr>
              <a:buSzPct val="90000"/>
              <a:buFont typeface="Courier New" panose="02070309020205020404" pitchFamily="49" charset="0"/>
              <a:buChar char="o"/>
              <a:defRPr sz="2400" kern="1200">
                <a:solidFill>
                  <a:schemeClr val="tx1"/>
                </a:solidFill>
                <a:latin typeface="+mn-lt"/>
                <a:ea typeface="+mn-ea"/>
                <a:cs typeface="+mn-cs"/>
              </a:defRPr>
            </a:lvl2pPr>
            <a:lvl3pPr marL="1162050" indent="-247650" algn="l" rtl="0" eaLnBrk="1" fontAlgn="base" hangingPunct="1">
              <a:lnSpc>
                <a:spcPct val="90000"/>
              </a:lnSpc>
              <a:spcBef>
                <a:spcPts val="500"/>
              </a:spcBef>
              <a:spcAft>
                <a:spcPct val="0"/>
              </a:spcAft>
              <a:buClr>
                <a:srgbClr val="B8C3D1"/>
              </a:buClr>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6870" indent="-356870">
              <a:buFont typeface="Arial" panose="020B0604020202020204" pitchFamily="34" charset="0"/>
              <a:buChar char="•"/>
            </a:pPr>
            <a:r>
              <a:rPr lang="en-US" sz="3200" b="1" dirty="0">
                <a:solidFill>
                  <a:schemeClr val="accent5">
                    <a:lumMod val="76000"/>
                  </a:schemeClr>
                </a:solidFill>
                <a:ea typeface="Calibri"/>
                <a:cs typeface="Calibri"/>
              </a:rPr>
              <a:t>Responsibility</a:t>
            </a:r>
          </a:p>
          <a:p>
            <a:pPr marL="0" indent="0">
              <a:buNone/>
            </a:pPr>
            <a:r>
              <a:rPr lang="en-US" sz="3200" dirty="0">
                <a:ea typeface="Calibri"/>
                <a:cs typeface="Calibri"/>
              </a:rPr>
              <a:t>Safe-by-design principles (e.g. inherent safe design, passive safe design – guardrails for cars or for motorcycles?)</a:t>
            </a:r>
          </a:p>
          <a:p>
            <a:pPr marL="0" indent="0">
              <a:buNone/>
            </a:pPr>
            <a:endParaRPr lang="en-US" sz="3200" dirty="0">
              <a:ea typeface="Calibri"/>
              <a:cs typeface="Calibri"/>
            </a:endParaRPr>
          </a:p>
          <a:p>
            <a:pPr marL="356870" indent="-356870">
              <a:buFont typeface="Arial" panose="020B0604020202020204" pitchFamily="34" charset="0"/>
              <a:buChar char="•"/>
            </a:pPr>
            <a:r>
              <a:rPr lang="en-US" sz="3200" b="1" dirty="0">
                <a:solidFill>
                  <a:schemeClr val="accent5">
                    <a:lumMod val="76000"/>
                  </a:schemeClr>
                </a:solidFill>
                <a:ea typeface="Calibri"/>
                <a:cs typeface="Calibri"/>
              </a:rPr>
              <a:t>Explainability</a:t>
            </a:r>
          </a:p>
          <a:p>
            <a:pPr marL="0" indent="0">
              <a:buNone/>
            </a:pPr>
            <a:r>
              <a:rPr lang="en-US" sz="3200" dirty="0">
                <a:ea typeface="Calibri"/>
                <a:cs typeface="Calibri"/>
              </a:rPr>
              <a:t>Empirical relationships, marginal effects, elasticities, XAI (SHAPLY values), feature importance</a:t>
            </a:r>
          </a:p>
          <a:p>
            <a:pPr marL="356870" indent="-356870">
              <a:buFont typeface="Arial" panose="020B0604020202020204" pitchFamily="34" charset="0"/>
              <a:buChar char="•"/>
            </a:pPr>
            <a:endParaRPr lang="en-US" sz="3200" dirty="0">
              <a:ea typeface="Calibri"/>
              <a:cs typeface="Calibri"/>
            </a:endParaRPr>
          </a:p>
          <a:p>
            <a:pPr marL="356870" indent="-356870">
              <a:buFont typeface="Arial" panose="020B0604020202020204" pitchFamily="34" charset="0"/>
              <a:buChar char="•"/>
            </a:pPr>
            <a:endParaRPr lang="en-US" sz="3200" dirty="0">
              <a:ea typeface="Calibri"/>
              <a:cs typeface="Calibri"/>
            </a:endParaRPr>
          </a:p>
          <a:p>
            <a:pPr marL="356870" indent="-356870">
              <a:buFont typeface="Arial" panose="020B0604020202020204" pitchFamily="34" charset="0"/>
              <a:buChar char="•"/>
            </a:pPr>
            <a:endParaRPr lang="en-US" sz="3200" dirty="0">
              <a:ea typeface="Calibri"/>
              <a:cs typeface="Calibri"/>
            </a:endParaRPr>
          </a:p>
        </p:txBody>
      </p:sp>
    </p:spTree>
    <p:extLst>
      <p:ext uri="{BB962C8B-B14F-4D97-AF65-F5344CB8AC3E}">
        <p14:creationId xmlns:p14="http://schemas.microsoft.com/office/powerpoint/2010/main" val="1272729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 calcmode="lin" valueType="num">
                                      <p:cBhvr additive="base">
                                        <p:cTn id="7"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anim calcmode="lin" valueType="num">
                                      <p:cBhvr additive="base">
                                        <p:cTn id="13"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1CF65D-B277-1816-A856-59A764CD5A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CDCB02-2541-0050-4CC9-76785CB69D68}"/>
              </a:ext>
            </a:extLst>
          </p:cNvPr>
          <p:cNvSpPr>
            <a:spLocks noGrp="1"/>
          </p:cNvSpPr>
          <p:nvPr>
            <p:ph type="title"/>
          </p:nvPr>
        </p:nvSpPr>
        <p:spPr/>
        <p:txBody>
          <a:bodyPr/>
          <a:lstStyle/>
          <a:p>
            <a:endParaRPr lang="en-US"/>
          </a:p>
        </p:txBody>
      </p:sp>
      <p:sp>
        <p:nvSpPr>
          <p:cNvPr id="4" name="Title 1">
            <a:extLst>
              <a:ext uri="{FF2B5EF4-FFF2-40B4-BE49-F238E27FC236}">
                <a16:creationId xmlns:a16="http://schemas.microsoft.com/office/drawing/2014/main" id="{11BF79E5-E717-0B70-21D6-5B4B6424B8E1}"/>
              </a:ext>
            </a:extLst>
          </p:cNvPr>
          <p:cNvSpPr txBox="1">
            <a:spLocks/>
          </p:cNvSpPr>
          <p:nvPr/>
        </p:nvSpPr>
        <p:spPr bwMode="auto">
          <a:xfrm>
            <a:off x="838200" y="397478"/>
            <a:ext cx="6073650" cy="492443"/>
          </a:xfrm>
          <a:prstGeom prst="rect">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gn="l" rtl="0" eaLnBrk="1" fontAlgn="base" hangingPunct="1">
              <a:lnSpc>
                <a:spcPct val="100000"/>
              </a:lnSpc>
              <a:spcBef>
                <a:spcPct val="0"/>
              </a:spcBef>
              <a:spcAft>
                <a:spcPct val="0"/>
              </a:spcAft>
              <a:defRPr lang="nl-NL" sz="1800" b="1" kern="1200" cap="none" baseline="0">
                <a:solidFill>
                  <a:schemeClr val="accent1"/>
                </a:solidFill>
                <a:latin typeface="+mj-lt"/>
                <a:ea typeface="+mn-ea"/>
                <a:cs typeface="+mn-cs"/>
              </a:defRPr>
            </a:lvl1pPr>
            <a:lvl2pPr algn="l" rtl="0" eaLnBrk="1" fontAlgn="base" hangingPunct="1">
              <a:lnSpc>
                <a:spcPct val="90000"/>
              </a:lnSpc>
              <a:spcBef>
                <a:spcPct val="0"/>
              </a:spcBef>
              <a:spcAft>
                <a:spcPct val="0"/>
              </a:spcAft>
              <a:defRPr sz="4400" b="1">
                <a:solidFill>
                  <a:schemeClr val="lt1"/>
                </a:solidFill>
                <a:latin typeface="+mn-lt"/>
                <a:ea typeface="+mn-ea"/>
                <a:cs typeface="+mn-cs"/>
              </a:defRPr>
            </a:lvl2pPr>
            <a:lvl3pPr algn="l" rtl="0" eaLnBrk="1" fontAlgn="base" hangingPunct="1">
              <a:lnSpc>
                <a:spcPct val="90000"/>
              </a:lnSpc>
              <a:spcBef>
                <a:spcPct val="0"/>
              </a:spcBef>
              <a:spcAft>
                <a:spcPct val="0"/>
              </a:spcAft>
              <a:defRPr sz="4400" b="1">
                <a:solidFill>
                  <a:schemeClr val="lt1"/>
                </a:solidFill>
                <a:latin typeface="+mn-lt"/>
                <a:ea typeface="+mn-ea"/>
                <a:cs typeface="+mn-cs"/>
              </a:defRPr>
            </a:lvl3pPr>
            <a:lvl4pPr algn="l" rtl="0" eaLnBrk="1" fontAlgn="base" hangingPunct="1">
              <a:lnSpc>
                <a:spcPct val="90000"/>
              </a:lnSpc>
              <a:spcBef>
                <a:spcPct val="0"/>
              </a:spcBef>
              <a:spcAft>
                <a:spcPct val="0"/>
              </a:spcAft>
              <a:defRPr sz="4400" b="1">
                <a:solidFill>
                  <a:schemeClr val="lt1"/>
                </a:solidFill>
                <a:latin typeface="+mn-lt"/>
                <a:ea typeface="+mn-ea"/>
                <a:cs typeface="+mn-cs"/>
              </a:defRPr>
            </a:lvl4pPr>
            <a:lvl5pPr algn="l" rtl="0" eaLnBrk="1" fontAlgn="base" hangingPunct="1">
              <a:lnSpc>
                <a:spcPct val="90000"/>
              </a:lnSpc>
              <a:spcBef>
                <a:spcPct val="0"/>
              </a:spcBef>
              <a:spcAft>
                <a:spcPct val="0"/>
              </a:spcAft>
              <a:defRPr sz="4400" b="1">
                <a:solidFill>
                  <a:schemeClr val="lt1"/>
                </a:solidFill>
                <a:latin typeface="+mn-lt"/>
                <a:ea typeface="+mn-ea"/>
                <a:cs typeface="+mn-cs"/>
              </a:defRPr>
            </a:lvl5pPr>
            <a:lvl6pPr marL="457200" algn="l" rtl="0" eaLnBrk="1" fontAlgn="base" hangingPunct="1">
              <a:lnSpc>
                <a:spcPct val="90000"/>
              </a:lnSpc>
              <a:spcBef>
                <a:spcPct val="0"/>
              </a:spcBef>
              <a:spcAft>
                <a:spcPct val="0"/>
              </a:spcAft>
              <a:defRPr sz="4400" b="1">
                <a:solidFill>
                  <a:schemeClr val="lt1"/>
                </a:solidFill>
                <a:latin typeface="+mn-lt"/>
                <a:ea typeface="+mn-ea"/>
                <a:cs typeface="+mn-cs"/>
              </a:defRPr>
            </a:lvl6pPr>
            <a:lvl7pPr marL="914400" algn="l" rtl="0" eaLnBrk="1" fontAlgn="base" hangingPunct="1">
              <a:lnSpc>
                <a:spcPct val="90000"/>
              </a:lnSpc>
              <a:spcBef>
                <a:spcPct val="0"/>
              </a:spcBef>
              <a:spcAft>
                <a:spcPct val="0"/>
              </a:spcAft>
              <a:defRPr sz="4400" b="1">
                <a:solidFill>
                  <a:schemeClr val="lt1"/>
                </a:solidFill>
                <a:latin typeface="+mn-lt"/>
                <a:ea typeface="+mn-ea"/>
                <a:cs typeface="+mn-cs"/>
              </a:defRPr>
            </a:lvl7pPr>
            <a:lvl8pPr marL="1371600" algn="l" rtl="0" eaLnBrk="1" fontAlgn="base" hangingPunct="1">
              <a:lnSpc>
                <a:spcPct val="90000"/>
              </a:lnSpc>
              <a:spcBef>
                <a:spcPct val="0"/>
              </a:spcBef>
              <a:spcAft>
                <a:spcPct val="0"/>
              </a:spcAft>
              <a:defRPr sz="4400" b="1">
                <a:solidFill>
                  <a:schemeClr val="lt1"/>
                </a:solidFill>
                <a:latin typeface="+mn-lt"/>
                <a:ea typeface="+mn-ea"/>
                <a:cs typeface="+mn-cs"/>
              </a:defRPr>
            </a:lvl8pPr>
            <a:lvl9pPr marL="1828800" algn="l" rtl="0" eaLnBrk="1" fontAlgn="base" hangingPunct="1">
              <a:lnSpc>
                <a:spcPct val="90000"/>
              </a:lnSpc>
              <a:spcBef>
                <a:spcPct val="0"/>
              </a:spcBef>
              <a:spcAft>
                <a:spcPct val="0"/>
              </a:spcAft>
              <a:defRPr sz="4400" b="1">
                <a:solidFill>
                  <a:schemeClr val="lt1"/>
                </a:solidFill>
                <a:latin typeface="+mn-lt"/>
                <a:ea typeface="+mn-ea"/>
                <a:cs typeface="+mn-cs"/>
              </a:defRPr>
            </a:lvl9pPr>
          </a:lstStyle>
          <a:p>
            <a:r>
              <a:rPr lang="en-US" sz="3200"/>
              <a:t>Translating ethics theory into practice</a:t>
            </a:r>
          </a:p>
        </p:txBody>
      </p:sp>
      <p:sp>
        <p:nvSpPr>
          <p:cNvPr id="6" name="Content Placeholder 2">
            <a:extLst>
              <a:ext uri="{FF2B5EF4-FFF2-40B4-BE49-F238E27FC236}">
                <a16:creationId xmlns:a16="http://schemas.microsoft.com/office/drawing/2014/main" id="{4B5ADAC5-8A44-9DF9-A8DB-742B23906572}"/>
              </a:ext>
            </a:extLst>
          </p:cNvPr>
          <p:cNvSpPr txBox="1">
            <a:spLocks/>
          </p:cNvSpPr>
          <p:nvPr/>
        </p:nvSpPr>
        <p:spPr>
          <a:xfrm>
            <a:off x="866954" y="1169956"/>
            <a:ext cx="10486846" cy="4347054"/>
          </a:xfrm>
          <a:prstGeom prst="rect">
            <a:avLst/>
          </a:prstGeom>
        </p:spPr>
        <p:txBody>
          <a:bodyPr lIns="91440" tIns="45720" rIns="91440" bIns="45720" anchor="t"/>
          <a:lstStyle>
            <a:lvl1pPr marL="357188" indent="-357188" algn="l" rtl="0" eaLnBrk="1" fontAlgn="base" hangingPunct="1">
              <a:lnSpc>
                <a:spcPct val="90000"/>
              </a:lnSpc>
              <a:spcBef>
                <a:spcPts val="1000"/>
              </a:spcBef>
              <a:spcAft>
                <a:spcPct val="0"/>
              </a:spcAft>
              <a:buClr>
                <a:srgbClr val="ADB9CA"/>
              </a:buClr>
              <a:buSzPct val="90000"/>
              <a:buFont typeface="Wingdings" panose="05000000000000000000" pitchFamily="2" charset="2"/>
              <a:buChar char="v"/>
              <a:defRPr sz="2800" kern="1200">
                <a:solidFill>
                  <a:schemeClr val="tx1"/>
                </a:solidFill>
                <a:latin typeface="+mn-lt"/>
                <a:ea typeface="+mn-ea"/>
                <a:cs typeface="+mn-cs"/>
              </a:defRPr>
            </a:lvl1pPr>
            <a:lvl2pPr marL="712788" indent="-255588" algn="l" rtl="0" eaLnBrk="1" fontAlgn="base" hangingPunct="1">
              <a:lnSpc>
                <a:spcPct val="90000"/>
              </a:lnSpc>
              <a:spcBef>
                <a:spcPts val="500"/>
              </a:spcBef>
              <a:spcAft>
                <a:spcPct val="0"/>
              </a:spcAft>
              <a:buClr>
                <a:srgbClr val="B8C3D1"/>
              </a:buClr>
              <a:buSzPct val="90000"/>
              <a:buFont typeface="Courier New" panose="02070309020205020404" pitchFamily="49" charset="0"/>
              <a:buChar char="o"/>
              <a:defRPr sz="2400" kern="1200">
                <a:solidFill>
                  <a:schemeClr val="tx1"/>
                </a:solidFill>
                <a:latin typeface="+mn-lt"/>
                <a:ea typeface="+mn-ea"/>
                <a:cs typeface="+mn-cs"/>
              </a:defRPr>
            </a:lvl2pPr>
            <a:lvl3pPr marL="1162050" indent="-247650" algn="l" rtl="0" eaLnBrk="1" fontAlgn="base" hangingPunct="1">
              <a:lnSpc>
                <a:spcPct val="90000"/>
              </a:lnSpc>
              <a:spcBef>
                <a:spcPts val="500"/>
              </a:spcBef>
              <a:spcAft>
                <a:spcPct val="0"/>
              </a:spcAft>
              <a:buClr>
                <a:srgbClr val="B8C3D1"/>
              </a:buClr>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6870" indent="-356870">
              <a:buFont typeface="Arial" panose="020B0604020202020204" pitchFamily="34" charset="0"/>
              <a:buChar char="•"/>
            </a:pPr>
            <a:r>
              <a:rPr lang="en-US" sz="3200" b="1" dirty="0">
                <a:solidFill>
                  <a:schemeClr val="accent5">
                    <a:lumMod val="76000"/>
                  </a:schemeClr>
                </a:solidFill>
                <a:ea typeface="Calibri"/>
                <a:cs typeface="Calibri"/>
              </a:rPr>
              <a:t>Justice</a:t>
            </a:r>
          </a:p>
          <a:p>
            <a:pPr marL="0" indent="0">
              <a:buNone/>
            </a:pPr>
            <a:r>
              <a:rPr lang="en-US" sz="3200" b="1" dirty="0">
                <a:ea typeface="Calibri"/>
                <a:cs typeface="Calibri"/>
              </a:rPr>
              <a:t>Focus:</a:t>
            </a:r>
            <a:r>
              <a:rPr lang="en-US" sz="3200" dirty="0">
                <a:ea typeface="Calibri"/>
                <a:cs typeface="Calibri"/>
              </a:rPr>
              <a:t> VRUs, children, women, LMIC</a:t>
            </a:r>
          </a:p>
          <a:p>
            <a:pPr marL="0" indent="0">
              <a:buNone/>
            </a:pPr>
            <a:r>
              <a:rPr lang="en-US" sz="3200" b="1" dirty="0">
                <a:ea typeface="Calibri"/>
                <a:cs typeface="Calibri"/>
              </a:rPr>
              <a:t>Sampling:</a:t>
            </a:r>
            <a:r>
              <a:rPr lang="en-US" sz="3200" dirty="0">
                <a:ea typeface="Calibri"/>
                <a:cs typeface="Calibri"/>
              </a:rPr>
              <a:t> (random vs convenience)</a:t>
            </a:r>
          </a:p>
          <a:p>
            <a:pPr marL="0" indent="0">
              <a:buNone/>
            </a:pPr>
            <a:r>
              <a:rPr lang="en-US" sz="3200" b="1" dirty="0">
                <a:ea typeface="Calibri"/>
                <a:cs typeface="Calibri"/>
              </a:rPr>
              <a:t>Analysis:</a:t>
            </a:r>
            <a:r>
              <a:rPr lang="en-US" sz="3200" dirty="0">
                <a:ea typeface="Calibri"/>
                <a:cs typeface="Calibri"/>
              </a:rPr>
              <a:t> cluster-based analysis </a:t>
            </a:r>
          </a:p>
          <a:p>
            <a:pPr marL="0" indent="0">
              <a:buNone/>
            </a:pPr>
            <a:r>
              <a:rPr lang="en-US" sz="3200" dirty="0">
                <a:ea typeface="Calibri"/>
                <a:cs typeface="Calibri"/>
              </a:rPr>
              <a:t>(e.g. clustering, latent class modelling)</a:t>
            </a:r>
            <a:endParaRPr lang="en-US" dirty="0"/>
          </a:p>
          <a:p>
            <a:pPr marL="0" indent="0">
              <a:buNone/>
            </a:pPr>
            <a:r>
              <a:rPr lang="en-US" sz="3200" dirty="0">
                <a:ea typeface="Calibri"/>
                <a:cs typeface="Calibri"/>
              </a:rPr>
              <a:t>Random parameters with heterogeneity in the means </a:t>
            </a:r>
          </a:p>
          <a:p>
            <a:pPr marL="0" indent="0">
              <a:buNone/>
            </a:pPr>
            <a:r>
              <a:rPr lang="en-US" sz="3200" dirty="0">
                <a:ea typeface="Calibri"/>
                <a:cs typeface="Calibri"/>
              </a:rPr>
              <a:t>(e.g. gender, age, etc.)</a:t>
            </a:r>
            <a:endParaRPr lang="en-US" dirty="0"/>
          </a:p>
        </p:txBody>
      </p:sp>
    </p:spTree>
    <p:extLst>
      <p:ext uri="{BB962C8B-B14F-4D97-AF65-F5344CB8AC3E}">
        <p14:creationId xmlns:p14="http://schemas.microsoft.com/office/powerpoint/2010/main" val="3567610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 calcmode="lin" valueType="num">
                                      <p:cBhvr additive="base">
                                        <p:cTn id="7"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 calcmode="lin" valueType="num">
                                      <p:cBhvr additive="base">
                                        <p:cTn id="13"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 calcmode="lin" valueType="num">
                                      <p:cBhvr additive="base">
                                        <p:cTn id="19"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anim calcmode="lin" valueType="num">
                                      <p:cBhvr additive="base">
                                        <p:cTn id="23"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6">
                                            <p:txEl>
                                              <p:pRg st="4" end="4"/>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anim calcmode="lin" valueType="num">
                                      <p:cBhvr additive="base">
                                        <p:cTn id="27"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6">
                                            <p:txEl>
                                              <p:pRg st="5" end="5"/>
                                            </p:txEl>
                                          </p:spTgt>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anim calcmode="lin" valueType="num">
                                      <p:cBhvr additive="base">
                                        <p:cTn id="31" dur="500" fill="hold"/>
                                        <p:tgtEl>
                                          <p:spTgt spid="6">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6">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03C1C6-7ECB-C56B-42B1-3A982F689C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7E8B8E8-6848-4984-B5A7-144EF9D6342D}"/>
              </a:ext>
            </a:extLst>
          </p:cNvPr>
          <p:cNvSpPr>
            <a:spLocks noGrp="1"/>
          </p:cNvSpPr>
          <p:nvPr>
            <p:ph type="title"/>
          </p:nvPr>
        </p:nvSpPr>
        <p:spPr/>
        <p:txBody>
          <a:bodyPr/>
          <a:lstStyle/>
          <a:p>
            <a:endParaRPr lang="en-US"/>
          </a:p>
        </p:txBody>
      </p:sp>
      <p:sp>
        <p:nvSpPr>
          <p:cNvPr id="4" name="Title 1">
            <a:extLst>
              <a:ext uri="{FF2B5EF4-FFF2-40B4-BE49-F238E27FC236}">
                <a16:creationId xmlns:a16="http://schemas.microsoft.com/office/drawing/2014/main" id="{C14B0CE0-241F-4712-403C-36FB61FAB4F2}"/>
              </a:ext>
            </a:extLst>
          </p:cNvPr>
          <p:cNvSpPr txBox="1">
            <a:spLocks/>
          </p:cNvSpPr>
          <p:nvPr/>
        </p:nvSpPr>
        <p:spPr bwMode="auto">
          <a:xfrm>
            <a:off x="838200" y="397478"/>
            <a:ext cx="6073650" cy="492443"/>
          </a:xfrm>
          <a:prstGeom prst="rect">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gn="l" rtl="0" eaLnBrk="1" fontAlgn="base" hangingPunct="1">
              <a:lnSpc>
                <a:spcPct val="100000"/>
              </a:lnSpc>
              <a:spcBef>
                <a:spcPct val="0"/>
              </a:spcBef>
              <a:spcAft>
                <a:spcPct val="0"/>
              </a:spcAft>
              <a:defRPr lang="nl-NL" sz="1800" b="1" kern="1200" cap="none" baseline="0">
                <a:solidFill>
                  <a:schemeClr val="accent1"/>
                </a:solidFill>
                <a:latin typeface="+mj-lt"/>
                <a:ea typeface="+mn-ea"/>
                <a:cs typeface="+mn-cs"/>
              </a:defRPr>
            </a:lvl1pPr>
            <a:lvl2pPr algn="l" rtl="0" eaLnBrk="1" fontAlgn="base" hangingPunct="1">
              <a:lnSpc>
                <a:spcPct val="90000"/>
              </a:lnSpc>
              <a:spcBef>
                <a:spcPct val="0"/>
              </a:spcBef>
              <a:spcAft>
                <a:spcPct val="0"/>
              </a:spcAft>
              <a:defRPr sz="4400" b="1">
                <a:solidFill>
                  <a:schemeClr val="lt1"/>
                </a:solidFill>
                <a:latin typeface="+mn-lt"/>
                <a:ea typeface="+mn-ea"/>
                <a:cs typeface="+mn-cs"/>
              </a:defRPr>
            </a:lvl2pPr>
            <a:lvl3pPr algn="l" rtl="0" eaLnBrk="1" fontAlgn="base" hangingPunct="1">
              <a:lnSpc>
                <a:spcPct val="90000"/>
              </a:lnSpc>
              <a:spcBef>
                <a:spcPct val="0"/>
              </a:spcBef>
              <a:spcAft>
                <a:spcPct val="0"/>
              </a:spcAft>
              <a:defRPr sz="4400" b="1">
                <a:solidFill>
                  <a:schemeClr val="lt1"/>
                </a:solidFill>
                <a:latin typeface="+mn-lt"/>
                <a:ea typeface="+mn-ea"/>
                <a:cs typeface="+mn-cs"/>
              </a:defRPr>
            </a:lvl3pPr>
            <a:lvl4pPr algn="l" rtl="0" eaLnBrk="1" fontAlgn="base" hangingPunct="1">
              <a:lnSpc>
                <a:spcPct val="90000"/>
              </a:lnSpc>
              <a:spcBef>
                <a:spcPct val="0"/>
              </a:spcBef>
              <a:spcAft>
                <a:spcPct val="0"/>
              </a:spcAft>
              <a:defRPr sz="4400" b="1">
                <a:solidFill>
                  <a:schemeClr val="lt1"/>
                </a:solidFill>
                <a:latin typeface="+mn-lt"/>
                <a:ea typeface="+mn-ea"/>
                <a:cs typeface="+mn-cs"/>
              </a:defRPr>
            </a:lvl4pPr>
            <a:lvl5pPr algn="l" rtl="0" eaLnBrk="1" fontAlgn="base" hangingPunct="1">
              <a:lnSpc>
                <a:spcPct val="90000"/>
              </a:lnSpc>
              <a:spcBef>
                <a:spcPct val="0"/>
              </a:spcBef>
              <a:spcAft>
                <a:spcPct val="0"/>
              </a:spcAft>
              <a:defRPr sz="4400" b="1">
                <a:solidFill>
                  <a:schemeClr val="lt1"/>
                </a:solidFill>
                <a:latin typeface="+mn-lt"/>
                <a:ea typeface="+mn-ea"/>
                <a:cs typeface="+mn-cs"/>
              </a:defRPr>
            </a:lvl5pPr>
            <a:lvl6pPr marL="457200" algn="l" rtl="0" eaLnBrk="1" fontAlgn="base" hangingPunct="1">
              <a:lnSpc>
                <a:spcPct val="90000"/>
              </a:lnSpc>
              <a:spcBef>
                <a:spcPct val="0"/>
              </a:spcBef>
              <a:spcAft>
                <a:spcPct val="0"/>
              </a:spcAft>
              <a:defRPr sz="4400" b="1">
                <a:solidFill>
                  <a:schemeClr val="lt1"/>
                </a:solidFill>
                <a:latin typeface="+mn-lt"/>
                <a:ea typeface="+mn-ea"/>
                <a:cs typeface="+mn-cs"/>
              </a:defRPr>
            </a:lvl6pPr>
            <a:lvl7pPr marL="914400" algn="l" rtl="0" eaLnBrk="1" fontAlgn="base" hangingPunct="1">
              <a:lnSpc>
                <a:spcPct val="90000"/>
              </a:lnSpc>
              <a:spcBef>
                <a:spcPct val="0"/>
              </a:spcBef>
              <a:spcAft>
                <a:spcPct val="0"/>
              </a:spcAft>
              <a:defRPr sz="4400" b="1">
                <a:solidFill>
                  <a:schemeClr val="lt1"/>
                </a:solidFill>
                <a:latin typeface="+mn-lt"/>
                <a:ea typeface="+mn-ea"/>
                <a:cs typeface="+mn-cs"/>
              </a:defRPr>
            </a:lvl7pPr>
            <a:lvl8pPr marL="1371600" algn="l" rtl="0" eaLnBrk="1" fontAlgn="base" hangingPunct="1">
              <a:lnSpc>
                <a:spcPct val="90000"/>
              </a:lnSpc>
              <a:spcBef>
                <a:spcPct val="0"/>
              </a:spcBef>
              <a:spcAft>
                <a:spcPct val="0"/>
              </a:spcAft>
              <a:defRPr sz="4400" b="1">
                <a:solidFill>
                  <a:schemeClr val="lt1"/>
                </a:solidFill>
                <a:latin typeface="+mn-lt"/>
                <a:ea typeface="+mn-ea"/>
                <a:cs typeface="+mn-cs"/>
              </a:defRPr>
            </a:lvl8pPr>
            <a:lvl9pPr marL="1828800" algn="l" rtl="0" eaLnBrk="1" fontAlgn="base" hangingPunct="1">
              <a:lnSpc>
                <a:spcPct val="90000"/>
              </a:lnSpc>
              <a:spcBef>
                <a:spcPct val="0"/>
              </a:spcBef>
              <a:spcAft>
                <a:spcPct val="0"/>
              </a:spcAft>
              <a:defRPr sz="4400" b="1">
                <a:solidFill>
                  <a:schemeClr val="lt1"/>
                </a:solidFill>
                <a:latin typeface="+mn-lt"/>
                <a:ea typeface="+mn-ea"/>
                <a:cs typeface="+mn-cs"/>
              </a:defRPr>
            </a:lvl9pPr>
          </a:lstStyle>
          <a:p>
            <a:r>
              <a:rPr lang="en-US" sz="3200"/>
              <a:t>Translating ethics theory into practice</a:t>
            </a:r>
          </a:p>
        </p:txBody>
      </p:sp>
      <p:sp>
        <p:nvSpPr>
          <p:cNvPr id="6" name="Content Placeholder 2">
            <a:extLst>
              <a:ext uri="{FF2B5EF4-FFF2-40B4-BE49-F238E27FC236}">
                <a16:creationId xmlns:a16="http://schemas.microsoft.com/office/drawing/2014/main" id="{FC2432A7-B80A-465C-BF4A-6636C9980DED}"/>
              </a:ext>
            </a:extLst>
          </p:cNvPr>
          <p:cNvSpPr txBox="1">
            <a:spLocks/>
          </p:cNvSpPr>
          <p:nvPr/>
        </p:nvSpPr>
        <p:spPr>
          <a:xfrm>
            <a:off x="866954" y="1169956"/>
            <a:ext cx="10486846" cy="4347054"/>
          </a:xfrm>
          <a:prstGeom prst="rect">
            <a:avLst/>
          </a:prstGeom>
        </p:spPr>
        <p:txBody>
          <a:bodyPr lIns="91440" tIns="45720" rIns="91440" bIns="45720" anchor="t"/>
          <a:lstStyle>
            <a:lvl1pPr marL="357188" indent="-357188" algn="l" rtl="0" eaLnBrk="1" fontAlgn="base" hangingPunct="1">
              <a:lnSpc>
                <a:spcPct val="90000"/>
              </a:lnSpc>
              <a:spcBef>
                <a:spcPts val="1000"/>
              </a:spcBef>
              <a:spcAft>
                <a:spcPct val="0"/>
              </a:spcAft>
              <a:buClr>
                <a:srgbClr val="ADB9CA"/>
              </a:buClr>
              <a:buSzPct val="90000"/>
              <a:buFont typeface="Wingdings" panose="05000000000000000000" pitchFamily="2" charset="2"/>
              <a:buChar char="v"/>
              <a:defRPr sz="2800" kern="1200">
                <a:solidFill>
                  <a:schemeClr val="tx1"/>
                </a:solidFill>
                <a:latin typeface="+mn-lt"/>
                <a:ea typeface="+mn-ea"/>
                <a:cs typeface="+mn-cs"/>
              </a:defRPr>
            </a:lvl1pPr>
            <a:lvl2pPr marL="712788" indent="-255588" algn="l" rtl="0" eaLnBrk="1" fontAlgn="base" hangingPunct="1">
              <a:lnSpc>
                <a:spcPct val="90000"/>
              </a:lnSpc>
              <a:spcBef>
                <a:spcPts val="500"/>
              </a:spcBef>
              <a:spcAft>
                <a:spcPct val="0"/>
              </a:spcAft>
              <a:buClr>
                <a:srgbClr val="B8C3D1"/>
              </a:buClr>
              <a:buSzPct val="90000"/>
              <a:buFont typeface="Courier New" panose="02070309020205020404" pitchFamily="49" charset="0"/>
              <a:buChar char="o"/>
              <a:defRPr sz="2400" kern="1200">
                <a:solidFill>
                  <a:schemeClr val="tx1"/>
                </a:solidFill>
                <a:latin typeface="+mn-lt"/>
                <a:ea typeface="+mn-ea"/>
                <a:cs typeface="+mn-cs"/>
              </a:defRPr>
            </a:lvl2pPr>
            <a:lvl3pPr marL="1162050" indent="-247650" algn="l" rtl="0" eaLnBrk="1" fontAlgn="base" hangingPunct="1">
              <a:lnSpc>
                <a:spcPct val="90000"/>
              </a:lnSpc>
              <a:spcBef>
                <a:spcPts val="500"/>
              </a:spcBef>
              <a:spcAft>
                <a:spcPct val="0"/>
              </a:spcAft>
              <a:buClr>
                <a:srgbClr val="B8C3D1"/>
              </a:buClr>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6870" indent="-356870">
              <a:buFont typeface="Arial" panose="020B0604020202020204" pitchFamily="34" charset="0"/>
              <a:buChar char="•"/>
            </a:pPr>
            <a:r>
              <a:rPr lang="en-US" sz="3200" b="1" dirty="0">
                <a:solidFill>
                  <a:schemeClr val="accent5">
                    <a:lumMod val="76000"/>
                  </a:schemeClr>
                </a:solidFill>
                <a:ea typeface="Calibri"/>
                <a:cs typeface="Calibri"/>
              </a:rPr>
              <a:t>Autonomy</a:t>
            </a:r>
          </a:p>
          <a:p>
            <a:pPr marL="0" indent="0">
              <a:buNone/>
            </a:pPr>
            <a:r>
              <a:rPr lang="en-US" sz="3200" dirty="0">
                <a:ea typeface="Calibri"/>
                <a:cs typeface="Calibri"/>
              </a:rPr>
              <a:t>Regulations, guidelines, protocols</a:t>
            </a:r>
          </a:p>
          <a:p>
            <a:pPr marL="0" indent="0">
              <a:buNone/>
            </a:pPr>
            <a:endParaRPr lang="en-US" sz="3200" dirty="0">
              <a:ea typeface="Calibri"/>
              <a:cs typeface="Calibri"/>
            </a:endParaRPr>
          </a:p>
          <a:p>
            <a:pPr marL="356870" indent="-356870">
              <a:buFont typeface="Arial" panose="020B0604020202020204" pitchFamily="34" charset="0"/>
              <a:buChar char="•"/>
            </a:pPr>
            <a:r>
              <a:rPr lang="en-US" sz="3200" b="1" dirty="0">
                <a:solidFill>
                  <a:schemeClr val="accent5">
                    <a:lumMod val="76000"/>
                  </a:schemeClr>
                </a:solidFill>
                <a:ea typeface="Calibri"/>
                <a:cs typeface="Calibri"/>
              </a:rPr>
              <a:t>Privacy</a:t>
            </a:r>
            <a:endParaRPr lang="en-US" b="1" dirty="0">
              <a:solidFill>
                <a:schemeClr val="accent5">
                  <a:lumMod val="76000"/>
                </a:schemeClr>
              </a:solidFill>
            </a:endParaRPr>
          </a:p>
          <a:p>
            <a:pPr marL="0" indent="0">
              <a:buNone/>
            </a:pPr>
            <a:r>
              <a:rPr lang="en-US" sz="3200" dirty="0">
                <a:ea typeface="Calibri"/>
                <a:cs typeface="Calibri"/>
              </a:rPr>
              <a:t>GDPR, anonymization, </a:t>
            </a:r>
            <a:r>
              <a:rPr lang="en-US" sz="3200" dirty="0">
                <a:solidFill>
                  <a:srgbClr val="000000"/>
                </a:solidFill>
                <a:ea typeface="+mn-lt"/>
                <a:cs typeface="+mn-lt"/>
              </a:rPr>
              <a:t>pseudonymization</a:t>
            </a:r>
            <a:r>
              <a:rPr lang="en-US" sz="3200" dirty="0">
                <a:ea typeface="Calibri"/>
                <a:cs typeface="Calibri"/>
              </a:rPr>
              <a:t>, blurring, etc.</a:t>
            </a:r>
          </a:p>
        </p:txBody>
      </p:sp>
    </p:spTree>
    <p:extLst>
      <p:ext uri="{BB962C8B-B14F-4D97-AF65-F5344CB8AC3E}">
        <p14:creationId xmlns:p14="http://schemas.microsoft.com/office/powerpoint/2010/main" val="2764100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22CF7D-7756-3D35-E931-74C7D3A89261}"/>
              </a:ext>
            </a:extLst>
          </p:cNvPr>
          <p:cNvSpPr>
            <a:spLocks noGrp="1"/>
          </p:cNvSpPr>
          <p:nvPr>
            <p:ph type="title"/>
          </p:nvPr>
        </p:nvSpPr>
        <p:spPr/>
        <p:txBody>
          <a:bodyPr/>
          <a:lstStyle/>
          <a:p>
            <a:endParaRPr lang="en-US"/>
          </a:p>
        </p:txBody>
      </p:sp>
      <p:sp>
        <p:nvSpPr>
          <p:cNvPr id="5" name="Rechthoek 1">
            <a:extLst>
              <a:ext uri="{FF2B5EF4-FFF2-40B4-BE49-F238E27FC236}">
                <a16:creationId xmlns:a16="http://schemas.microsoft.com/office/drawing/2014/main" id="{9A12FF29-DFF7-5918-8D47-6AAE9BDD77CD}"/>
              </a:ext>
            </a:extLst>
          </p:cNvPr>
          <p:cNvSpPr>
            <a:spLocks/>
          </p:cNvSpPr>
          <p:nvPr/>
        </p:nvSpPr>
        <p:spPr>
          <a:xfrm>
            <a:off x="1482801" y="1809211"/>
            <a:ext cx="2355899" cy="6841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r>
              <a:rPr lang="en-GB" sz="2400">
                <a:ea typeface="Calibri"/>
                <a:cs typeface="Calibri"/>
              </a:rPr>
              <a:t>Responsibility</a:t>
            </a:r>
          </a:p>
        </p:txBody>
      </p:sp>
      <p:sp>
        <p:nvSpPr>
          <p:cNvPr id="6" name="Rechthoek 1">
            <a:extLst>
              <a:ext uri="{FF2B5EF4-FFF2-40B4-BE49-F238E27FC236}">
                <a16:creationId xmlns:a16="http://schemas.microsoft.com/office/drawing/2014/main" id="{E6B0A2CE-3D5E-CAC4-7B5A-7E81E196DF58}"/>
              </a:ext>
            </a:extLst>
          </p:cNvPr>
          <p:cNvSpPr>
            <a:spLocks/>
          </p:cNvSpPr>
          <p:nvPr/>
        </p:nvSpPr>
        <p:spPr>
          <a:xfrm>
            <a:off x="7754736" y="2822312"/>
            <a:ext cx="2057384" cy="684104"/>
          </a:xfrm>
          <a:prstGeom prst="rect">
            <a:avLst/>
          </a:prstGeom>
          <a:solidFill>
            <a:srgbClr val="FFC000"/>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r>
              <a:rPr lang="en-GB" sz="2400" dirty="0">
                <a:solidFill>
                  <a:schemeClr val="tx1"/>
                </a:solidFill>
                <a:ea typeface="Calibri"/>
                <a:cs typeface="Calibri"/>
              </a:rPr>
              <a:t>Automated road coding</a:t>
            </a:r>
            <a:endParaRPr lang="en-US" sz="2400" dirty="0">
              <a:solidFill>
                <a:schemeClr val="tx1"/>
              </a:solidFill>
            </a:endParaRPr>
          </a:p>
        </p:txBody>
      </p:sp>
      <p:sp>
        <p:nvSpPr>
          <p:cNvPr id="7" name="Rechthoek 1">
            <a:extLst>
              <a:ext uri="{FF2B5EF4-FFF2-40B4-BE49-F238E27FC236}">
                <a16:creationId xmlns:a16="http://schemas.microsoft.com/office/drawing/2014/main" id="{7038AD1B-2644-2C49-1104-6324AFDF39A6}"/>
              </a:ext>
            </a:extLst>
          </p:cNvPr>
          <p:cNvSpPr>
            <a:spLocks/>
          </p:cNvSpPr>
          <p:nvPr/>
        </p:nvSpPr>
        <p:spPr>
          <a:xfrm>
            <a:off x="1632058" y="3817251"/>
            <a:ext cx="2057384" cy="6841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r>
              <a:rPr lang="en-GB" sz="2400">
                <a:ea typeface="Calibri"/>
                <a:cs typeface="Calibri"/>
              </a:rPr>
              <a:t>Autonomy</a:t>
            </a:r>
          </a:p>
        </p:txBody>
      </p:sp>
      <p:sp>
        <p:nvSpPr>
          <p:cNvPr id="8" name="Rechthoek 1">
            <a:extLst>
              <a:ext uri="{FF2B5EF4-FFF2-40B4-BE49-F238E27FC236}">
                <a16:creationId xmlns:a16="http://schemas.microsoft.com/office/drawing/2014/main" id="{70413D5B-58B2-9506-6956-D3D095071637}"/>
              </a:ext>
            </a:extLst>
          </p:cNvPr>
          <p:cNvSpPr>
            <a:spLocks/>
          </p:cNvSpPr>
          <p:nvPr/>
        </p:nvSpPr>
        <p:spPr>
          <a:xfrm>
            <a:off x="4410153" y="1809211"/>
            <a:ext cx="2057384" cy="6841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r>
              <a:rPr lang="en-GB" sz="2400">
                <a:ea typeface="Calibri"/>
                <a:cs typeface="Calibri"/>
              </a:rPr>
              <a:t>Justice</a:t>
            </a:r>
          </a:p>
        </p:txBody>
      </p:sp>
      <p:sp>
        <p:nvSpPr>
          <p:cNvPr id="9" name="Rechthoek 1">
            <a:extLst>
              <a:ext uri="{FF2B5EF4-FFF2-40B4-BE49-F238E27FC236}">
                <a16:creationId xmlns:a16="http://schemas.microsoft.com/office/drawing/2014/main" id="{17E2F588-EE83-531D-09AB-86686BEA155F}"/>
              </a:ext>
            </a:extLst>
          </p:cNvPr>
          <p:cNvSpPr>
            <a:spLocks/>
          </p:cNvSpPr>
          <p:nvPr/>
        </p:nvSpPr>
        <p:spPr>
          <a:xfrm>
            <a:off x="4398871" y="3817251"/>
            <a:ext cx="2057384" cy="6841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r>
              <a:rPr lang="en-GB" sz="2400">
                <a:ea typeface="Calibri"/>
                <a:cs typeface="Calibri"/>
              </a:rPr>
              <a:t>Privacy</a:t>
            </a:r>
          </a:p>
        </p:txBody>
      </p:sp>
      <p:sp>
        <p:nvSpPr>
          <p:cNvPr id="10" name="Arrow: Right 9">
            <a:extLst>
              <a:ext uri="{FF2B5EF4-FFF2-40B4-BE49-F238E27FC236}">
                <a16:creationId xmlns:a16="http://schemas.microsoft.com/office/drawing/2014/main" id="{4ADC0CFF-6AED-6ADB-D414-3F597B31328E}"/>
              </a:ext>
            </a:extLst>
          </p:cNvPr>
          <p:cNvSpPr/>
          <p:nvPr/>
        </p:nvSpPr>
        <p:spPr>
          <a:xfrm>
            <a:off x="5427563" y="3045837"/>
            <a:ext cx="2079948" cy="23705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Rechthoek 1">
            <a:extLst>
              <a:ext uri="{FF2B5EF4-FFF2-40B4-BE49-F238E27FC236}">
                <a16:creationId xmlns:a16="http://schemas.microsoft.com/office/drawing/2014/main" id="{1EABB59F-3D4E-671D-6094-E1869A1844FD}"/>
              </a:ext>
            </a:extLst>
          </p:cNvPr>
          <p:cNvSpPr>
            <a:spLocks/>
          </p:cNvSpPr>
          <p:nvPr/>
        </p:nvSpPr>
        <p:spPr>
          <a:xfrm>
            <a:off x="2810008" y="2822312"/>
            <a:ext cx="2057384" cy="6841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r>
              <a:rPr lang="en-GB" sz="2400" dirty="0">
                <a:solidFill>
                  <a:schemeClr val="bg1"/>
                </a:solidFill>
                <a:ea typeface="Calibri"/>
                <a:cs typeface="Calibri"/>
              </a:rPr>
              <a:t>Explainability</a:t>
            </a:r>
          </a:p>
        </p:txBody>
      </p:sp>
      <p:sp>
        <p:nvSpPr>
          <p:cNvPr id="14" name="Title 1">
            <a:extLst>
              <a:ext uri="{FF2B5EF4-FFF2-40B4-BE49-F238E27FC236}">
                <a16:creationId xmlns:a16="http://schemas.microsoft.com/office/drawing/2014/main" id="{9F74AA56-4D84-C58B-6E70-6CE214D8F854}"/>
              </a:ext>
            </a:extLst>
          </p:cNvPr>
          <p:cNvSpPr txBox="1">
            <a:spLocks/>
          </p:cNvSpPr>
          <p:nvPr/>
        </p:nvSpPr>
        <p:spPr bwMode="auto">
          <a:xfrm>
            <a:off x="838200" y="397478"/>
            <a:ext cx="4221861" cy="492443"/>
          </a:xfrm>
          <a:prstGeom prst="rect">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gn="l" rtl="0" eaLnBrk="1" fontAlgn="base" hangingPunct="1">
              <a:lnSpc>
                <a:spcPct val="100000"/>
              </a:lnSpc>
              <a:spcBef>
                <a:spcPct val="0"/>
              </a:spcBef>
              <a:spcAft>
                <a:spcPct val="0"/>
              </a:spcAft>
              <a:defRPr lang="nl-NL" sz="1800" b="1" kern="1200" cap="none" baseline="0">
                <a:solidFill>
                  <a:schemeClr val="accent1"/>
                </a:solidFill>
                <a:latin typeface="+mj-lt"/>
                <a:ea typeface="+mn-ea"/>
                <a:cs typeface="+mn-cs"/>
              </a:defRPr>
            </a:lvl1pPr>
            <a:lvl2pPr algn="l" rtl="0" eaLnBrk="1" fontAlgn="base" hangingPunct="1">
              <a:lnSpc>
                <a:spcPct val="90000"/>
              </a:lnSpc>
              <a:spcBef>
                <a:spcPct val="0"/>
              </a:spcBef>
              <a:spcAft>
                <a:spcPct val="0"/>
              </a:spcAft>
              <a:defRPr sz="4400" b="1">
                <a:solidFill>
                  <a:schemeClr val="lt1"/>
                </a:solidFill>
                <a:latin typeface="+mn-lt"/>
                <a:ea typeface="+mn-ea"/>
                <a:cs typeface="+mn-cs"/>
              </a:defRPr>
            </a:lvl2pPr>
            <a:lvl3pPr algn="l" rtl="0" eaLnBrk="1" fontAlgn="base" hangingPunct="1">
              <a:lnSpc>
                <a:spcPct val="90000"/>
              </a:lnSpc>
              <a:spcBef>
                <a:spcPct val="0"/>
              </a:spcBef>
              <a:spcAft>
                <a:spcPct val="0"/>
              </a:spcAft>
              <a:defRPr sz="4400" b="1">
                <a:solidFill>
                  <a:schemeClr val="lt1"/>
                </a:solidFill>
                <a:latin typeface="+mn-lt"/>
                <a:ea typeface="+mn-ea"/>
                <a:cs typeface="+mn-cs"/>
              </a:defRPr>
            </a:lvl3pPr>
            <a:lvl4pPr algn="l" rtl="0" eaLnBrk="1" fontAlgn="base" hangingPunct="1">
              <a:lnSpc>
                <a:spcPct val="90000"/>
              </a:lnSpc>
              <a:spcBef>
                <a:spcPct val="0"/>
              </a:spcBef>
              <a:spcAft>
                <a:spcPct val="0"/>
              </a:spcAft>
              <a:defRPr sz="4400" b="1">
                <a:solidFill>
                  <a:schemeClr val="lt1"/>
                </a:solidFill>
                <a:latin typeface="+mn-lt"/>
                <a:ea typeface="+mn-ea"/>
                <a:cs typeface="+mn-cs"/>
              </a:defRPr>
            </a:lvl4pPr>
            <a:lvl5pPr algn="l" rtl="0" eaLnBrk="1" fontAlgn="base" hangingPunct="1">
              <a:lnSpc>
                <a:spcPct val="90000"/>
              </a:lnSpc>
              <a:spcBef>
                <a:spcPct val="0"/>
              </a:spcBef>
              <a:spcAft>
                <a:spcPct val="0"/>
              </a:spcAft>
              <a:defRPr sz="4400" b="1">
                <a:solidFill>
                  <a:schemeClr val="lt1"/>
                </a:solidFill>
                <a:latin typeface="+mn-lt"/>
                <a:ea typeface="+mn-ea"/>
                <a:cs typeface="+mn-cs"/>
              </a:defRPr>
            </a:lvl5pPr>
            <a:lvl6pPr marL="457200" algn="l" rtl="0" eaLnBrk="1" fontAlgn="base" hangingPunct="1">
              <a:lnSpc>
                <a:spcPct val="90000"/>
              </a:lnSpc>
              <a:spcBef>
                <a:spcPct val="0"/>
              </a:spcBef>
              <a:spcAft>
                <a:spcPct val="0"/>
              </a:spcAft>
              <a:defRPr sz="4400" b="1">
                <a:solidFill>
                  <a:schemeClr val="lt1"/>
                </a:solidFill>
                <a:latin typeface="+mn-lt"/>
                <a:ea typeface="+mn-ea"/>
                <a:cs typeface="+mn-cs"/>
              </a:defRPr>
            </a:lvl6pPr>
            <a:lvl7pPr marL="914400" algn="l" rtl="0" eaLnBrk="1" fontAlgn="base" hangingPunct="1">
              <a:lnSpc>
                <a:spcPct val="90000"/>
              </a:lnSpc>
              <a:spcBef>
                <a:spcPct val="0"/>
              </a:spcBef>
              <a:spcAft>
                <a:spcPct val="0"/>
              </a:spcAft>
              <a:defRPr sz="4400" b="1">
                <a:solidFill>
                  <a:schemeClr val="lt1"/>
                </a:solidFill>
                <a:latin typeface="+mn-lt"/>
                <a:ea typeface="+mn-ea"/>
                <a:cs typeface="+mn-cs"/>
              </a:defRPr>
            </a:lvl7pPr>
            <a:lvl8pPr marL="1371600" algn="l" rtl="0" eaLnBrk="1" fontAlgn="base" hangingPunct="1">
              <a:lnSpc>
                <a:spcPct val="90000"/>
              </a:lnSpc>
              <a:spcBef>
                <a:spcPct val="0"/>
              </a:spcBef>
              <a:spcAft>
                <a:spcPct val="0"/>
              </a:spcAft>
              <a:defRPr sz="4400" b="1">
                <a:solidFill>
                  <a:schemeClr val="lt1"/>
                </a:solidFill>
                <a:latin typeface="+mn-lt"/>
                <a:ea typeface="+mn-ea"/>
                <a:cs typeface="+mn-cs"/>
              </a:defRPr>
            </a:lvl8pPr>
            <a:lvl9pPr marL="1828800" algn="l" rtl="0" eaLnBrk="1" fontAlgn="base" hangingPunct="1">
              <a:lnSpc>
                <a:spcPct val="90000"/>
              </a:lnSpc>
              <a:spcBef>
                <a:spcPct val="0"/>
              </a:spcBef>
              <a:spcAft>
                <a:spcPct val="0"/>
              </a:spcAft>
              <a:defRPr sz="4400" b="1">
                <a:solidFill>
                  <a:schemeClr val="lt1"/>
                </a:solidFill>
                <a:latin typeface="+mn-lt"/>
                <a:ea typeface="+mn-ea"/>
                <a:cs typeface="+mn-cs"/>
              </a:defRPr>
            </a:lvl9pPr>
          </a:lstStyle>
          <a:p>
            <a:r>
              <a:rPr lang="en-US" sz="3200" dirty="0"/>
              <a:t>What is it like in practice? </a:t>
            </a:r>
            <a:endParaRPr lang="en-US" dirty="0"/>
          </a:p>
        </p:txBody>
      </p:sp>
    </p:spTree>
    <p:extLst>
      <p:ext uri="{BB962C8B-B14F-4D97-AF65-F5344CB8AC3E}">
        <p14:creationId xmlns:p14="http://schemas.microsoft.com/office/powerpoint/2010/main" val="1349091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906A74-C4E9-F914-EAC9-923E09AD38AC}"/>
              </a:ext>
            </a:extLst>
          </p:cNvPr>
          <p:cNvSpPr>
            <a:spLocks noGrp="1"/>
          </p:cNvSpPr>
          <p:nvPr>
            <p:ph type="title"/>
          </p:nvPr>
        </p:nvSpPr>
        <p:spPr/>
        <p:txBody>
          <a:bodyPr/>
          <a:lstStyle/>
          <a:p>
            <a:r>
              <a:rPr lang="en-US" sz="3200" dirty="0"/>
              <a:t>Road Assessment Programs (RAP) for safer roads</a:t>
            </a:r>
          </a:p>
        </p:txBody>
      </p:sp>
      <p:pic>
        <p:nvPicPr>
          <p:cNvPr id="6" name="Content Placeholder 5">
            <a:extLst>
              <a:ext uri="{FF2B5EF4-FFF2-40B4-BE49-F238E27FC236}">
                <a16:creationId xmlns:a16="http://schemas.microsoft.com/office/drawing/2014/main" id="{410AD434-9DC3-4D42-993A-8E82666D7BF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bwMode="auto">
          <a:xfrm>
            <a:off x="597335" y="2788644"/>
            <a:ext cx="2065257" cy="1047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ooter Placeholder 3">
            <a:extLst>
              <a:ext uri="{FF2B5EF4-FFF2-40B4-BE49-F238E27FC236}">
                <a16:creationId xmlns:a16="http://schemas.microsoft.com/office/drawing/2014/main" id="{601FD3D0-1F5B-5D67-51BB-C54C98E6B078}"/>
              </a:ext>
            </a:extLst>
          </p:cNvPr>
          <p:cNvSpPr>
            <a:spLocks noGrp="1"/>
          </p:cNvSpPr>
          <p:nvPr>
            <p:ph type="ftr" sz="quarter" idx="14"/>
          </p:nvPr>
        </p:nvSpPr>
        <p:spPr/>
        <p:txBody>
          <a:bodyPr/>
          <a:lstStyle/>
          <a:p>
            <a:pPr>
              <a:defRPr/>
            </a:pPr>
            <a:r>
              <a:rPr lang="en-GB"/>
              <a:t>www.ivory-network.eu</a:t>
            </a:r>
          </a:p>
        </p:txBody>
      </p:sp>
      <p:pic>
        <p:nvPicPr>
          <p:cNvPr id="5" name="Picture 4">
            <a:extLst>
              <a:ext uri="{FF2B5EF4-FFF2-40B4-BE49-F238E27FC236}">
                <a16:creationId xmlns:a16="http://schemas.microsoft.com/office/drawing/2014/main" id="{824DAC16-9300-BAB0-69A8-16B0490618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37553" y="2788644"/>
            <a:ext cx="2065257" cy="1047070"/>
          </a:xfrm>
          <a:prstGeom prst="rect">
            <a:avLst/>
          </a:prstGeom>
        </p:spPr>
      </p:pic>
      <p:pic>
        <p:nvPicPr>
          <p:cNvPr id="8" name="Picture 7">
            <a:extLst>
              <a:ext uri="{FF2B5EF4-FFF2-40B4-BE49-F238E27FC236}">
                <a16:creationId xmlns:a16="http://schemas.microsoft.com/office/drawing/2014/main" id="{D2A8402D-36C3-12AF-F3D7-78E9AED7ACE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8200" y="1595782"/>
            <a:ext cx="1532981" cy="674511"/>
          </a:xfrm>
          <a:prstGeom prst="rect">
            <a:avLst/>
          </a:prstGeom>
        </p:spPr>
      </p:pic>
      <p:pic>
        <p:nvPicPr>
          <p:cNvPr id="10" name="Picture 9">
            <a:extLst>
              <a:ext uri="{FF2B5EF4-FFF2-40B4-BE49-F238E27FC236}">
                <a16:creationId xmlns:a16="http://schemas.microsoft.com/office/drawing/2014/main" id="{BF31660F-A19A-6D51-27B7-EF295711A8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5476" y="4336708"/>
            <a:ext cx="1894986" cy="677142"/>
          </a:xfrm>
          <a:prstGeom prst="rect">
            <a:avLst/>
          </a:prstGeom>
        </p:spPr>
      </p:pic>
      <p:pic>
        <p:nvPicPr>
          <p:cNvPr id="12" name="Picture 11">
            <a:extLst>
              <a:ext uri="{FF2B5EF4-FFF2-40B4-BE49-F238E27FC236}">
                <a16:creationId xmlns:a16="http://schemas.microsoft.com/office/drawing/2014/main" id="{210F12CE-DCC5-3FF0-9510-7FB21D502D4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00462" y="4061687"/>
            <a:ext cx="2132479" cy="1142897"/>
          </a:xfrm>
          <a:prstGeom prst="rect">
            <a:avLst/>
          </a:prstGeom>
        </p:spPr>
      </p:pic>
      <p:pic>
        <p:nvPicPr>
          <p:cNvPr id="11" name="Picture 10">
            <a:extLst>
              <a:ext uri="{FF2B5EF4-FFF2-40B4-BE49-F238E27FC236}">
                <a16:creationId xmlns:a16="http://schemas.microsoft.com/office/drawing/2014/main" id="{4339462E-9987-E15E-2F7B-B658B7194F3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37553" y="1595782"/>
            <a:ext cx="1884302" cy="596298"/>
          </a:xfrm>
          <a:prstGeom prst="rect">
            <a:avLst/>
          </a:prstGeom>
        </p:spPr>
      </p:pic>
      <p:pic>
        <p:nvPicPr>
          <p:cNvPr id="1026" name="Picture 2" descr="TRL | iRAP Star Rating - a joint service from TRL &amp; Gaist">
            <a:extLst>
              <a:ext uri="{FF2B5EF4-FFF2-40B4-BE49-F238E27FC236}">
                <a16:creationId xmlns:a16="http://schemas.microsoft.com/office/drawing/2014/main" id="{DB3843FF-7850-A4AD-11C0-60B8930639D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43416" y="2131639"/>
            <a:ext cx="2878220" cy="259472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57C198BD-DC2A-6746-CF0C-17F5F24A88E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210550" y="1944026"/>
            <a:ext cx="3465414" cy="27363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202156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66EF4-616A-8C75-5980-85162FDE704F}"/>
              </a:ext>
            </a:extLst>
          </p:cNvPr>
          <p:cNvSpPr>
            <a:spLocks noGrp="1"/>
          </p:cNvSpPr>
          <p:nvPr>
            <p:ph type="title"/>
          </p:nvPr>
        </p:nvSpPr>
        <p:spPr/>
        <p:txBody>
          <a:bodyPr/>
          <a:lstStyle/>
          <a:p>
            <a:r>
              <a:rPr lang="en-US" sz="3200" dirty="0"/>
              <a:t>Importance of automation and ethical implications</a:t>
            </a:r>
          </a:p>
        </p:txBody>
      </p:sp>
      <p:sp>
        <p:nvSpPr>
          <p:cNvPr id="4" name="Footer Placeholder 3">
            <a:extLst>
              <a:ext uri="{FF2B5EF4-FFF2-40B4-BE49-F238E27FC236}">
                <a16:creationId xmlns:a16="http://schemas.microsoft.com/office/drawing/2014/main" id="{91C52127-6428-3A5E-0CB0-2FF3893D7BF9}"/>
              </a:ext>
            </a:extLst>
          </p:cNvPr>
          <p:cNvSpPr>
            <a:spLocks noGrp="1"/>
          </p:cNvSpPr>
          <p:nvPr>
            <p:ph type="ftr" sz="quarter" idx="14"/>
          </p:nvPr>
        </p:nvSpPr>
        <p:spPr/>
        <p:txBody>
          <a:bodyPr/>
          <a:lstStyle/>
          <a:p>
            <a:pPr>
              <a:defRPr/>
            </a:pPr>
            <a:r>
              <a:rPr lang="en-GB"/>
              <a:t>www.ivory-network.eu</a:t>
            </a:r>
          </a:p>
        </p:txBody>
      </p:sp>
      <p:sp>
        <p:nvSpPr>
          <p:cNvPr id="6" name="Oval 5">
            <a:extLst>
              <a:ext uri="{FF2B5EF4-FFF2-40B4-BE49-F238E27FC236}">
                <a16:creationId xmlns:a16="http://schemas.microsoft.com/office/drawing/2014/main" id="{D0129EFB-4A19-F271-2FB4-171F869925B4}"/>
              </a:ext>
            </a:extLst>
          </p:cNvPr>
          <p:cNvSpPr/>
          <p:nvPr/>
        </p:nvSpPr>
        <p:spPr>
          <a:xfrm>
            <a:off x="2118651" y="1411927"/>
            <a:ext cx="970357" cy="970357"/>
          </a:xfrm>
          <a:prstGeom prst="ellipse">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nl-NL"/>
          </a:p>
        </p:txBody>
      </p:sp>
      <p:sp>
        <p:nvSpPr>
          <p:cNvPr id="7" name="Rectangle 6" descr="Programmer male with solid fill">
            <a:extLst>
              <a:ext uri="{FF2B5EF4-FFF2-40B4-BE49-F238E27FC236}">
                <a16:creationId xmlns:a16="http://schemas.microsoft.com/office/drawing/2014/main" id="{9C9773F4-79FB-9B60-9145-E389C14660A2}"/>
              </a:ext>
            </a:extLst>
          </p:cNvPr>
          <p:cNvSpPr/>
          <p:nvPr/>
        </p:nvSpPr>
        <p:spPr>
          <a:xfrm>
            <a:off x="2322426" y="1615702"/>
            <a:ext cx="562807" cy="562807"/>
          </a:xfrm>
          <a:prstGeom prst="rect">
            <a:avLst/>
          </a:prstGeom>
          <a:blipFill>
            <a:blip r:embed="rId2">
              <a:extLst>
                <a:ext uri="{96DAC541-7B7A-43D3-8B79-37D633B846F1}">
                  <asvg:svgBlip xmlns:asvg="http://schemas.microsoft.com/office/drawing/2016/SVG/main" r:embed="rId3"/>
                </a:ext>
              </a:extLst>
            </a:blip>
            <a:srcRect/>
            <a:stretch>
              <a:fillRect/>
            </a:stretch>
          </a:bli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a:lstStyle/>
          <a:p>
            <a:endParaRPr lang="nl-NL"/>
          </a:p>
        </p:txBody>
      </p:sp>
      <p:sp>
        <p:nvSpPr>
          <p:cNvPr id="8" name="Freeform: Shape 7">
            <a:extLst>
              <a:ext uri="{FF2B5EF4-FFF2-40B4-BE49-F238E27FC236}">
                <a16:creationId xmlns:a16="http://schemas.microsoft.com/office/drawing/2014/main" id="{90E22360-2C28-F593-A6BD-9444B3A889C0}"/>
              </a:ext>
            </a:extLst>
          </p:cNvPr>
          <p:cNvSpPr/>
          <p:nvPr/>
        </p:nvSpPr>
        <p:spPr>
          <a:xfrm>
            <a:off x="3296942" y="1411927"/>
            <a:ext cx="2287271" cy="970357"/>
          </a:xfrm>
          <a:custGeom>
            <a:avLst/>
            <a:gdLst>
              <a:gd name="csX0" fmla="*/ 0 w 2287271"/>
              <a:gd name="csY0" fmla="*/ 0 h 970357"/>
              <a:gd name="csX1" fmla="*/ 2287271 w 2287271"/>
              <a:gd name="csY1" fmla="*/ 0 h 970357"/>
              <a:gd name="csX2" fmla="*/ 2287271 w 2287271"/>
              <a:gd name="csY2" fmla="*/ 970357 h 970357"/>
              <a:gd name="csX3" fmla="*/ 0 w 2287271"/>
              <a:gd name="csY3" fmla="*/ 970357 h 970357"/>
              <a:gd name="csX4" fmla="*/ 0 w 2287271"/>
              <a:gd name="csY4" fmla="*/ 0 h 970357"/>
            </a:gdLst>
            <a:ahLst/>
            <a:cxnLst>
              <a:cxn ang="0">
                <a:pos x="csX0" y="csY0"/>
              </a:cxn>
              <a:cxn ang="0">
                <a:pos x="csX1" y="csY1"/>
              </a:cxn>
              <a:cxn ang="0">
                <a:pos x="csX2" y="csY2"/>
              </a:cxn>
              <a:cxn ang="0">
                <a:pos x="csX3" y="csY3"/>
              </a:cxn>
              <a:cxn ang="0">
                <a:pos x="csX4" y="csY4"/>
              </a:cxn>
            </a:cxnLst>
            <a:rect l="l" t="t" r="r" b="b"/>
            <a:pathLst>
              <a:path w="2287271" h="970357">
                <a:moveTo>
                  <a:pt x="0" y="0"/>
                </a:moveTo>
                <a:lnTo>
                  <a:pt x="2287271" y="0"/>
                </a:lnTo>
                <a:lnTo>
                  <a:pt x="2287271" y="970357"/>
                </a:lnTo>
                <a:lnTo>
                  <a:pt x="0" y="97035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b="1" kern="1200" dirty="0"/>
              <a:t>Manual coding is expensive to scale</a:t>
            </a:r>
          </a:p>
          <a:p>
            <a:pPr marL="0" lvl="0" indent="0" algn="l" defTabSz="622300">
              <a:lnSpc>
                <a:spcPct val="100000"/>
              </a:lnSpc>
              <a:spcBef>
                <a:spcPct val="0"/>
              </a:spcBef>
              <a:spcAft>
                <a:spcPct val="35000"/>
              </a:spcAft>
              <a:buNone/>
            </a:pPr>
            <a:r>
              <a:rPr lang="en-US" sz="1400" kern="1200" dirty="0"/>
              <a:t>Human road coders are time-consuming to train and deploy.</a:t>
            </a:r>
          </a:p>
        </p:txBody>
      </p:sp>
      <p:sp>
        <p:nvSpPr>
          <p:cNvPr id="9" name="Oval 8">
            <a:extLst>
              <a:ext uri="{FF2B5EF4-FFF2-40B4-BE49-F238E27FC236}">
                <a16:creationId xmlns:a16="http://schemas.microsoft.com/office/drawing/2014/main" id="{ADAF02EF-CDF8-5D3E-33AD-854E2D20B168}"/>
              </a:ext>
            </a:extLst>
          </p:cNvPr>
          <p:cNvSpPr/>
          <p:nvPr/>
        </p:nvSpPr>
        <p:spPr>
          <a:xfrm>
            <a:off x="5982753" y="1411927"/>
            <a:ext cx="970357" cy="970357"/>
          </a:xfrm>
          <a:prstGeom prst="ellipse">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nl-NL"/>
          </a:p>
        </p:txBody>
      </p:sp>
      <p:sp>
        <p:nvSpPr>
          <p:cNvPr id="10" name="Rectangle 9" descr="Stopwatch 75% with solid fill">
            <a:extLst>
              <a:ext uri="{FF2B5EF4-FFF2-40B4-BE49-F238E27FC236}">
                <a16:creationId xmlns:a16="http://schemas.microsoft.com/office/drawing/2014/main" id="{B5E6AC78-EC8B-2C65-A840-86851552E326}"/>
              </a:ext>
            </a:extLst>
          </p:cNvPr>
          <p:cNvSpPr/>
          <p:nvPr/>
        </p:nvSpPr>
        <p:spPr>
          <a:xfrm>
            <a:off x="6186528" y="1615702"/>
            <a:ext cx="562807" cy="562807"/>
          </a:xfrm>
          <a:prstGeom prst="rect">
            <a:avLst/>
          </a:prstGeom>
          <a:blipFill>
            <a:blip r:embed="rId4">
              <a:extLst>
                <a:ext uri="{96DAC541-7B7A-43D3-8B79-37D633B846F1}">
                  <asvg:svgBlip xmlns:asvg="http://schemas.microsoft.com/office/drawing/2016/SVG/main" r:embed="rId5"/>
                </a:ext>
              </a:extLst>
            </a:blip>
            <a:srcRect/>
            <a:stretch>
              <a:fillRect/>
            </a:stretch>
          </a:bli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a:lstStyle/>
          <a:p>
            <a:endParaRPr lang="nl-NL"/>
          </a:p>
        </p:txBody>
      </p:sp>
      <p:sp>
        <p:nvSpPr>
          <p:cNvPr id="11" name="Freeform: Shape 10">
            <a:extLst>
              <a:ext uri="{FF2B5EF4-FFF2-40B4-BE49-F238E27FC236}">
                <a16:creationId xmlns:a16="http://schemas.microsoft.com/office/drawing/2014/main" id="{70814316-1462-2A91-EF2D-186062444D61}"/>
              </a:ext>
            </a:extLst>
          </p:cNvPr>
          <p:cNvSpPr/>
          <p:nvPr/>
        </p:nvSpPr>
        <p:spPr>
          <a:xfrm>
            <a:off x="7161045" y="1411927"/>
            <a:ext cx="2287271" cy="970357"/>
          </a:xfrm>
          <a:custGeom>
            <a:avLst/>
            <a:gdLst>
              <a:gd name="csX0" fmla="*/ 0 w 2287271"/>
              <a:gd name="csY0" fmla="*/ 0 h 970357"/>
              <a:gd name="csX1" fmla="*/ 2287271 w 2287271"/>
              <a:gd name="csY1" fmla="*/ 0 h 970357"/>
              <a:gd name="csX2" fmla="*/ 2287271 w 2287271"/>
              <a:gd name="csY2" fmla="*/ 970357 h 970357"/>
              <a:gd name="csX3" fmla="*/ 0 w 2287271"/>
              <a:gd name="csY3" fmla="*/ 970357 h 970357"/>
              <a:gd name="csX4" fmla="*/ 0 w 2287271"/>
              <a:gd name="csY4" fmla="*/ 0 h 970357"/>
            </a:gdLst>
            <a:ahLst/>
            <a:cxnLst>
              <a:cxn ang="0">
                <a:pos x="csX0" y="csY0"/>
              </a:cxn>
              <a:cxn ang="0">
                <a:pos x="csX1" y="csY1"/>
              </a:cxn>
              <a:cxn ang="0">
                <a:pos x="csX2" y="csY2"/>
              </a:cxn>
              <a:cxn ang="0">
                <a:pos x="csX3" y="csY3"/>
              </a:cxn>
              <a:cxn ang="0">
                <a:pos x="csX4" y="csY4"/>
              </a:cxn>
            </a:cxnLst>
            <a:rect l="l" t="t" r="r" b="b"/>
            <a:pathLst>
              <a:path w="2287271" h="970357">
                <a:moveTo>
                  <a:pt x="0" y="0"/>
                </a:moveTo>
                <a:lnTo>
                  <a:pt x="2287271" y="0"/>
                </a:lnTo>
                <a:lnTo>
                  <a:pt x="2287271" y="970357"/>
                </a:lnTo>
                <a:lnTo>
                  <a:pt x="0" y="97035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b="1" kern="1200" dirty="0"/>
              <a:t>AI could expand coverage faster</a:t>
            </a:r>
          </a:p>
          <a:p>
            <a:pPr marL="0" lvl="0" indent="0" algn="l" defTabSz="622300">
              <a:lnSpc>
                <a:spcPct val="100000"/>
              </a:lnSpc>
              <a:spcBef>
                <a:spcPct val="0"/>
              </a:spcBef>
              <a:spcAft>
                <a:spcPct val="35000"/>
              </a:spcAft>
              <a:buNone/>
            </a:pPr>
            <a:r>
              <a:rPr lang="en-US" sz="1400" kern="1200" dirty="0"/>
              <a:t>Automated assessment could help inspect more roads with limited budgets and limited expert capacity.</a:t>
            </a:r>
          </a:p>
        </p:txBody>
      </p:sp>
      <p:sp>
        <p:nvSpPr>
          <p:cNvPr id="12" name="Oval 11">
            <a:extLst>
              <a:ext uri="{FF2B5EF4-FFF2-40B4-BE49-F238E27FC236}">
                <a16:creationId xmlns:a16="http://schemas.microsoft.com/office/drawing/2014/main" id="{E827FE5D-AEBE-5327-B7FA-6D81CD477E9E}"/>
              </a:ext>
            </a:extLst>
          </p:cNvPr>
          <p:cNvSpPr/>
          <p:nvPr/>
        </p:nvSpPr>
        <p:spPr>
          <a:xfrm>
            <a:off x="2118651" y="3160334"/>
            <a:ext cx="970357" cy="970357"/>
          </a:xfrm>
          <a:prstGeom prst="ellipse">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nl-NL"/>
          </a:p>
        </p:txBody>
      </p:sp>
      <p:sp>
        <p:nvSpPr>
          <p:cNvPr id="13" name="Rectangle 12" descr="Road with solid fill">
            <a:extLst>
              <a:ext uri="{FF2B5EF4-FFF2-40B4-BE49-F238E27FC236}">
                <a16:creationId xmlns:a16="http://schemas.microsoft.com/office/drawing/2014/main" id="{16FF36E8-2AF1-303C-2588-E487179653CB}"/>
              </a:ext>
            </a:extLst>
          </p:cNvPr>
          <p:cNvSpPr/>
          <p:nvPr/>
        </p:nvSpPr>
        <p:spPr>
          <a:xfrm>
            <a:off x="2322426" y="3364109"/>
            <a:ext cx="562807" cy="562807"/>
          </a:xfrm>
          <a:prstGeom prst="rect">
            <a:avLst/>
          </a:prstGeom>
          <a:blipFill>
            <a:blip r:embed="rId6">
              <a:extLst>
                <a:ext uri="{96DAC541-7B7A-43D3-8B79-37D633B846F1}">
                  <asvg:svgBlip xmlns:asvg="http://schemas.microsoft.com/office/drawing/2016/SVG/main" r:embed="rId7"/>
                </a:ext>
              </a:extLst>
            </a:blip>
            <a:srcRect/>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nl-NL"/>
          </a:p>
        </p:txBody>
      </p:sp>
      <p:sp>
        <p:nvSpPr>
          <p:cNvPr id="14" name="Freeform: Shape 13">
            <a:extLst>
              <a:ext uri="{FF2B5EF4-FFF2-40B4-BE49-F238E27FC236}">
                <a16:creationId xmlns:a16="http://schemas.microsoft.com/office/drawing/2014/main" id="{55A9AFEB-9095-41C8-53CA-40F635BC81A3}"/>
              </a:ext>
            </a:extLst>
          </p:cNvPr>
          <p:cNvSpPr/>
          <p:nvPr/>
        </p:nvSpPr>
        <p:spPr>
          <a:xfrm>
            <a:off x="3296942" y="3160334"/>
            <a:ext cx="2287271" cy="970357"/>
          </a:xfrm>
          <a:custGeom>
            <a:avLst/>
            <a:gdLst>
              <a:gd name="csX0" fmla="*/ 0 w 2287271"/>
              <a:gd name="csY0" fmla="*/ 0 h 970357"/>
              <a:gd name="csX1" fmla="*/ 2287271 w 2287271"/>
              <a:gd name="csY1" fmla="*/ 0 h 970357"/>
              <a:gd name="csX2" fmla="*/ 2287271 w 2287271"/>
              <a:gd name="csY2" fmla="*/ 970357 h 970357"/>
              <a:gd name="csX3" fmla="*/ 0 w 2287271"/>
              <a:gd name="csY3" fmla="*/ 970357 h 970357"/>
              <a:gd name="csX4" fmla="*/ 0 w 2287271"/>
              <a:gd name="csY4" fmla="*/ 0 h 970357"/>
            </a:gdLst>
            <a:ahLst/>
            <a:cxnLst>
              <a:cxn ang="0">
                <a:pos x="csX0" y="csY0"/>
              </a:cxn>
              <a:cxn ang="0">
                <a:pos x="csX1" y="csY1"/>
              </a:cxn>
              <a:cxn ang="0">
                <a:pos x="csX2" y="csY2"/>
              </a:cxn>
              <a:cxn ang="0">
                <a:pos x="csX3" y="csY3"/>
              </a:cxn>
              <a:cxn ang="0">
                <a:pos x="csX4" y="csY4"/>
              </a:cxn>
            </a:cxnLst>
            <a:rect l="l" t="t" r="r" b="b"/>
            <a:pathLst>
              <a:path w="2287271" h="970357">
                <a:moveTo>
                  <a:pt x="0" y="0"/>
                </a:moveTo>
                <a:lnTo>
                  <a:pt x="2287271" y="0"/>
                </a:lnTo>
                <a:lnTo>
                  <a:pt x="2287271" y="970357"/>
                </a:lnTo>
                <a:lnTo>
                  <a:pt x="0" y="97035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b="1" kern="1200" dirty="0"/>
              <a:t>Allocation justice</a:t>
            </a:r>
            <a:endParaRPr lang="en-US" sz="1400" kern="1200" dirty="0"/>
          </a:p>
          <a:p>
            <a:pPr marL="0" lvl="0" indent="0" algn="l" defTabSz="622300">
              <a:lnSpc>
                <a:spcPct val="100000"/>
              </a:lnSpc>
              <a:spcBef>
                <a:spcPct val="0"/>
              </a:spcBef>
              <a:spcAft>
                <a:spcPct val="35000"/>
              </a:spcAft>
              <a:buNone/>
            </a:pPr>
            <a:r>
              <a:rPr lang="en-US" sz="1400" kern="1200" dirty="0"/>
              <a:t>If a road is under-rated, scarce safety funds may go to the wrong locations instead of the highest-risk roads.</a:t>
            </a:r>
          </a:p>
        </p:txBody>
      </p:sp>
      <p:sp>
        <p:nvSpPr>
          <p:cNvPr id="15" name="Oval 14">
            <a:extLst>
              <a:ext uri="{FF2B5EF4-FFF2-40B4-BE49-F238E27FC236}">
                <a16:creationId xmlns:a16="http://schemas.microsoft.com/office/drawing/2014/main" id="{D73F482B-E88C-8913-EB4F-84816B886FF8}"/>
              </a:ext>
            </a:extLst>
          </p:cNvPr>
          <p:cNvSpPr/>
          <p:nvPr/>
        </p:nvSpPr>
        <p:spPr>
          <a:xfrm>
            <a:off x="5982753" y="3160334"/>
            <a:ext cx="970357" cy="970357"/>
          </a:xfrm>
          <a:prstGeom prst="ellipse">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nl-NL"/>
          </a:p>
        </p:txBody>
      </p:sp>
      <p:sp>
        <p:nvSpPr>
          <p:cNvPr id="16" name="Rectangle 15" descr="Safe with solid fill">
            <a:extLst>
              <a:ext uri="{FF2B5EF4-FFF2-40B4-BE49-F238E27FC236}">
                <a16:creationId xmlns:a16="http://schemas.microsoft.com/office/drawing/2014/main" id="{8A6E2B6D-0D16-1384-B5D4-8B5DF7B73F27}"/>
              </a:ext>
            </a:extLst>
          </p:cNvPr>
          <p:cNvSpPr/>
          <p:nvPr/>
        </p:nvSpPr>
        <p:spPr>
          <a:xfrm>
            <a:off x="6186528" y="3364109"/>
            <a:ext cx="562807" cy="562807"/>
          </a:xfrm>
          <a:prstGeom prst="rect">
            <a:avLst/>
          </a:prstGeom>
          <a:blipFill>
            <a:blip r:embed="rId8">
              <a:extLst>
                <a:ext uri="{96DAC541-7B7A-43D3-8B79-37D633B846F1}">
                  <asvg:svgBlip xmlns:asvg="http://schemas.microsoft.com/office/drawing/2016/SVG/main" r:embed="rId9"/>
                </a:ext>
              </a:extLst>
            </a:blip>
            <a:srcRect/>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nl-NL"/>
          </a:p>
        </p:txBody>
      </p:sp>
      <p:sp>
        <p:nvSpPr>
          <p:cNvPr id="17" name="Freeform: Shape 16">
            <a:extLst>
              <a:ext uri="{FF2B5EF4-FFF2-40B4-BE49-F238E27FC236}">
                <a16:creationId xmlns:a16="http://schemas.microsoft.com/office/drawing/2014/main" id="{C04C90CC-6F70-7E2C-9182-467647968FB9}"/>
              </a:ext>
            </a:extLst>
          </p:cNvPr>
          <p:cNvSpPr/>
          <p:nvPr/>
        </p:nvSpPr>
        <p:spPr>
          <a:xfrm>
            <a:off x="7161045" y="3160334"/>
            <a:ext cx="2287271" cy="970357"/>
          </a:xfrm>
          <a:custGeom>
            <a:avLst/>
            <a:gdLst>
              <a:gd name="csX0" fmla="*/ 0 w 2287271"/>
              <a:gd name="csY0" fmla="*/ 0 h 970357"/>
              <a:gd name="csX1" fmla="*/ 2287271 w 2287271"/>
              <a:gd name="csY1" fmla="*/ 0 h 970357"/>
              <a:gd name="csX2" fmla="*/ 2287271 w 2287271"/>
              <a:gd name="csY2" fmla="*/ 970357 h 970357"/>
              <a:gd name="csX3" fmla="*/ 0 w 2287271"/>
              <a:gd name="csY3" fmla="*/ 970357 h 970357"/>
              <a:gd name="csX4" fmla="*/ 0 w 2287271"/>
              <a:gd name="csY4" fmla="*/ 0 h 970357"/>
            </a:gdLst>
            <a:ahLst/>
            <a:cxnLst>
              <a:cxn ang="0">
                <a:pos x="csX0" y="csY0"/>
              </a:cxn>
              <a:cxn ang="0">
                <a:pos x="csX1" y="csY1"/>
              </a:cxn>
              <a:cxn ang="0">
                <a:pos x="csX2" y="csY2"/>
              </a:cxn>
              <a:cxn ang="0">
                <a:pos x="csX3" y="csY3"/>
              </a:cxn>
              <a:cxn ang="0">
                <a:pos x="csX4" y="csY4"/>
              </a:cxn>
            </a:cxnLst>
            <a:rect l="l" t="t" r="r" b="b"/>
            <a:pathLst>
              <a:path w="2287271" h="970357">
                <a:moveTo>
                  <a:pt x="0" y="0"/>
                </a:moveTo>
                <a:lnTo>
                  <a:pt x="2287271" y="0"/>
                </a:lnTo>
                <a:lnTo>
                  <a:pt x="2287271" y="970357"/>
                </a:lnTo>
                <a:lnTo>
                  <a:pt x="0" y="97035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b="1" kern="1200" dirty="0"/>
              <a:t>Trust and Justification</a:t>
            </a:r>
          </a:p>
          <a:p>
            <a:pPr marL="0" lvl="0" indent="0" algn="l" defTabSz="622300">
              <a:lnSpc>
                <a:spcPct val="100000"/>
              </a:lnSpc>
              <a:spcBef>
                <a:spcPct val="0"/>
              </a:spcBef>
              <a:spcAft>
                <a:spcPct val="35000"/>
              </a:spcAft>
              <a:buNone/>
            </a:pPr>
            <a:r>
              <a:rPr lang="en-US" sz="1400" kern="1200" dirty="0"/>
              <a:t>black-box vision outputs are hard for agencies to audit, challenge, or justify in public-safety decisions.</a:t>
            </a:r>
          </a:p>
        </p:txBody>
      </p:sp>
      <p:sp>
        <p:nvSpPr>
          <p:cNvPr id="18" name="Oval 17">
            <a:extLst>
              <a:ext uri="{FF2B5EF4-FFF2-40B4-BE49-F238E27FC236}">
                <a16:creationId xmlns:a16="http://schemas.microsoft.com/office/drawing/2014/main" id="{FCAB2A3E-C4C1-2138-6D69-4BAF2BF715AE}"/>
              </a:ext>
            </a:extLst>
          </p:cNvPr>
          <p:cNvSpPr/>
          <p:nvPr/>
        </p:nvSpPr>
        <p:spPr>
          <a:xfrm>
            <a:off x="2118651" y="4908741"/>
            <a:ext cx="970357" cy="970357"/>
          </a:xfrm>
          <a:prstGeom prst="ellipse">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nl-NL"/>
          </a:p>
        </p:txBody>
      </p:sp>
      <p:sp>
        <p:nvSpPr>
          <p:cNvPr id="19" name="Rectangle 18" descr="Electric Car">
            <a:extLst>
              <a:ext uri="{FF2B5EF4-FFF2-40B4-BE49-F238E27FC236}">
                <a16:creationId xmlns:a16="http://schemas.microsoft.com/office/drawing/2014/main" id="{222F0F20-EA58-B78D-C410-E8B546945AFC}"/>
              </a:ext>
            </a:extLst>
          </p:cNvPr>
          <p:cNvSpPr/>
          <p:nvPr/>
        </p:nvSpPr>
        <p:spPr>
          <a:xfrm>
            <a:off x="2322426" y="5112517"/>
            <a:ext cx="562807" cy="562807"/>
          </a:xfrm>
          <a:prstGeom prst="rect">
            <a:avLst/>
          </a:prstGeom>
          <a:blipFill rotWithShape="1">
            <a:blip r:embed="rId10">
              <a:extLst>
                <a:ext uri="{96DAC541-7B7A-43D3-8B79-37D633B846F1}">
                  <asvg:svgBlip xmlns:asvg="http://schemas.microsoft.com/office/drawing/2016/SVG/main" r:embed="rId11"/>
                </a:ext>
              </a:extLst>
            </a:blip>
            <a:srcRect/>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nl-NL"/>
          </a:p>
        </p:txBody>
      </p:sp>
      <p:sp>
        <p:nvSpPr>
          <p:cNvPr id="20" name="Freeform: Shape 19">
            <a:extLst>
              <a:ext uri="{FF2B5EF4-FFF2-40B4-BE49-F238E27FC236}">
                <a16:creationId xmlns:a16="http://schemas.microsoft.com/office/drawing/2014/main" id="{DFA9A529-FB0E-4AA7-B82B-7A6BB2DB72A1}"/>
              </a:ext>
            </a:extLst>
          </p:cNvPr>
          <p:cNvSpPr/>
          <p:nvPr/>
        </p:nvSpPr>
        <p:spPr>
          <a:xfrm>
            <a:off x="3296942" y="4908741"/>
            <a:ext cx="2287271" cy="970357"/>
          </a:xfrm>
          <a:custGeom>
            <a:avLst/>
            <a:gdLst>
              <a:gd name="csX0" fmla="*/ 0 w 2287271"/>
              <a:gd name="csY0" fmla="*/ 0 h 970357"/>
              <a:gd name="csX1" fmla="*/ 2287271 w 2287271"/>
              <a:gd name="csY1" fmla="*/ 0 h 970357"/>
              <a:gd name="csX2" fmla="*/ 2287271 w 2287271"/>
              <a:gd name="csY2" fmla="*/ 970357 h 970357"/>
              <a:gd name="csX3" fmla="*/ 0 w 2287271"/>
              <a:gd name="csY3" fmla="*/ 970357 h 970357"/>
              <a:gd name="csX4" fmla="*/ 0 w 2287271"/>
              <a:gd name="csY4" fmla="*/ 0 h 970357"/>
            </a:gdLst>
            <a:ahLst/>
            <a:cxnLst>
              <a:cxn ang="0">
                <a:pos x="csX0" y="csY0"/>
              </a:cxn>
              <a:cxn ang="0">
                <a:pos x="csX1" y="csY1"/>
              </a:cxn>
              <a:cxn ang="0">
                <a:pos x="csX2" y="csY2"/>
              </a:cxn>
              <a:cxn ang="0">
                <a:pos x="csX3" y="csY3"/>
              </a:cxn>
              <a:cxn ang="0">
                <a:pos x="csX4" y="csY4"/>
              </a:cxn>
            </a:cxnLst>
            <a:rect l="l" t="t" r="r" b="b"/>
            <a:pathLst>
              <a:path w="2287271" h="970357">
                <a:moveTo>
                  <a:pt x="0" y="0"/>
                </a:moveTo>
                <a:lnTo>
                  <a:pt x="2287271" y="0"/>
                </a:lnTo>
                <a:lnTo>
                  <a:pt x="2287271" y="970357"/>
                </a:lnTo>
                <a:lnTo>
                  <a:pt x="0" y="97035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b="1" kern="1200" dirty="0"/>
              <a:t>Representation gap</a:t>
            </a:r>
          </a:p>
          <a:p>
            <a:pPr marL="0" lvl="0" indent="0" algn="l" defTabSz="622300">
              <a:lnSpc>
                <a:spcPct val="100000"/>
              </a:lnSpc>
              <a:spcBef>
                <a:spcPct val="0"/>
              </a:spcBef>
              <a:spcAft>
                <a:spcPct val="35000"/>
              </a:spcAft>
              <a:buNone/>
            </a:pPr>
            <a:r>
              <a:rPr lang="en-US" sz="1400" kern="1200" dirty="0"/>
              <a:t>The variety in road infrastructure design differs across countries.</a:t>
            </a:r>
          </a:p>
        </p:txBody>
      </p:sp>
      <p:sp>
        <p:nvSpPr>
          <p:cNvPr id="21" name="Oval 20">
            <a:extLst>
              <a:ext uri="{FF2B5EF4-FFF2-40B4-BE49-F238E27FC236}">
                <a16:creationId xmlns:a16="http://schemas.microsoft.com/office/drawing/2014/main" id="{A3DF21A9-C56C-F513-FC49-013C3ABBF8F4}"/>
              </a:ext>
            </a:extLst>
          </p:cNvPr>
          <p:cNvSpPr/>
          <p:nvPr/>
        </p:nvSpPr>
        <p:spPr>
          <a:xfrm>
            <a:off x="5982753" y="4908741"/>
            <a:ext cx="970357" cy="970357"/>
          </a:xfrm>
          <a:prstGeom prst="ellipse">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nl-NL"/>
          </a:p>
        </p:txBody>
      </p:sp>
      <p:sp>
        <p:nvSpPr>
          <p:cNvPr id="22" name="Rectangle 21" descr="Database with solid fill">
            <a:extLst>
              <a:ext uri="{FF2B5EF4-FFF2-40B4-BE49-F238E27FC236}">
                <a16:creationId xmlns:a16="http://schemas.microsoft.com/office/drawing/2014/main" id="{7ABB1D86-88CF-7098-0CDF-93DFB2FF7DE8}"/>
              </a:ext>
            </a:extLst>
          </p:cNvPr>
          <p:cNvSpPr/>
          <p:nvPr/>
        </p:nvSpPr>
        <p:spPr>
          <a:xfrm>
            <a:off x="6186528" y="5112517"/>
            <a:ext cx="562807" cy="562807"/>
          </a:xfrm>
          <a:prstGeom prst="rect">
            <a:avLst/>
          </a:prstGeom>
          <a:blipFill>
            <a:blip r:embed="rId12">
              <a:extLst>
                <a:ext uri="{96DAC541-7B7A-43D3-8B79-37D633B846F1}">
                  <asvg:svgBlip xmlns:asvg="http://schemas.microsoft.com/office/drawing/2016/SVG/main" r:embed="rId13"/>
                </a:ext>
              </a:extLst>
            </a:blip>
            <a:srcRect/>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nl-NL"/>
          </a:p>
        </p:txBody>
      </p:sp>
      <p:sp>
        <p:nvSpPr>
          <p:cNvPr id="23" name="Freeform: Shape 22">
            <a:extLst>
              <a:ext uri="{FF2B5EF4-FFF2-40B4-BE49-F238E27FC236}">
                <a16:creationId xmlns:a16="http://schemas.microsoft.com/office/drawing/2014/main" id="{25C4627D-2FCE-74C3-A516-2A6047582948}"/>
              </a:ext>
            </a:extLst>
          </p:cNvPr>
          <p:cNvSpPr/>
          <p:nvPr/>
        </p:nvSpPr>
        <p:spPr>
          <a:xfrm>
            <a:off x="7161045" y="4908741"/>
            <a:ext cx="2287271" cy="970357"/>
          </a:xfrm>
          <a:custGeom>
            <a:avLst/>
            <a:gdLst>
              <a:gd name="csX0" fmla="*/ 0 w 2287271"/>
              <a:gd name="csY0" fmla="*/ 0 h 970357"/>
              <a:gd name="csX1" fmla="*/ 2287271 w 2287271"/>
              <a:gd name="csY1" fmla="*/ 0 h 970357"/>
              <a:gd name="csX2" fmla="*/ 2287271 w 2287271"/>
              <a:gd name="csY2" fmla="*/ 970357 h 970357"/>
              <a:gd name="csX3" fmla="*/ 0 w 2287271"/>
              <a:gd name="csY3" fmla="*/ 970357 h 970357"/>
              <a:gd name="csX4" fmla="*/ 0 w 2287271"/>
              <a:gd name="csY4" fmla="*/ 0 h 970357"/>
            </a:gdLst>
            <a:ahLst/>
            <a:cxnLst>
              <a:cxn ang="0">
                <a:pos x="csX0" y="csY0"/>
              </a:cxn>
              <a:cxn ang="0">
                <a:pos x="csX1" y="csY1"/>
              </a:cxn>
              <a:cxn ang="0">
                <a:pos x="csX2" y="csY2"/>
              </a:cxn>
              <a:cxn ang="0">
                <a:pos x="csX3" y="csY3"/>
              </a:cxn>
              <a:cxn ang="0">
                <a:pos x="csX4" y="csY4"/>
              </a:cxn>
            </a:cxnLst>
            <a:rect l="l" t="t" r="r" b="b"/>
            <a:pathLst>
              <a:path w="2287271" h="970357">
                <a:moveTo>
                  <a:pt x="0" y="0"/>
                </a:moveTo>
                <a:lnTo>
                  <a:pt x="2287271" y="0"/>
                </a:lnTo>
                <a:lnTo>
                  <a:pt x="2287271" y="970357"/>
                </a:lnTo>
                <a:lnTo>
                  <a:pt x="0" y="97035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b="1" kern="1200" dirty="0"/>
              <a:t>LMIC data scarcity</a:t>
            </a:r>
          </a:p>
          <a:p>
            <a:pPr marL="0" lvl="0" indent="0" algn="l" defTabSz="622300">
              <a:lnSpc>
                <a:spcPct val="100000"/>
              </a:lnSpc>
              <a:spcBef>
                <a:spcPct val="0"/>
              </a:spcBef>
              <a:spcAft>
                <a:spcPct val="35000"/>
              </a:spcAft>
              <a:buNone/>
            </a:pPr>
            <a:r>
              <a:rPr lang="en-US" sz="1400" kern="1200" dirty="0"/>
              <a:t>Road-safety </a:t>
            </a:r>
            <a:r>
              <a:rPr lang="en-US" sz="1400" b="1" u="sng" kern="1200" dirty="0"/>
              <a:t>research</a:t>
            </a:r>
            <a:r>
              <a:rPr lang="en-US" sz="1400" kern="1200" dirty="0"/>
              <a:t> and </a:t>
            </a:r>
            <a:r>
              <a:rPr lang="en-US" sz="1400" b="1" u="sng" kern="1200" dirty="0"/>
              <a:t>datasets</a:t>
            </a:r>
            <a:r>
              <a:rPr lang="en-US" sz="1400" kern="1200" dirty="0"/>
              <a:t> in LMIC contexts are underrepresented, which increases the risk of unequal model performance.</a:t>
            </a:r>
          </a:p>
        </p:txBody>
      </p:sp>
    </p:spTree>
    <p:extLst>
      <p:ext uri="{BB962C8B-B14F-4D97-AF65-F5344CB8AC3E}">
        <p14:creationId xmlns:p14="http://schemas.microsoft.com/office/powerpoint/2010/main" val="2749984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additive="base">
                                        <p:cTn id="21" dur="500" fill="hold"/>
                                        <p:tgtEl>
                                          <p:spTgt spid="9"/>
                                        </p:tgtEl>
                                        <p:attrNameLst>
                                          <p:attrName>ppt_x</p:attrName>
                                        </p:attrNameLst>
                                      </p:cBhvr>
                                      <p:tavLst>
                                        <p:tav tm="0">
                                          <p:val>
                                            <p:strVal val="#ppt_x"/>
                                          </p:val>
                                        </p:tav>
                                        <p:tav tm="100000">
                                          <p:val>
                                            <p:strVal val="#ppt_x"/>
                                          </p:val>
                                        </p:tav>
                                      </p:tavLst>
                                    </p:anim>
                                    <p:anim calcmode="lin" valueType="num">
                                      <p:cBhvr additive="base">
                                        <p:cTn id="22" dur="500" fill="hold"/>
                                        <p:tgtEl>
                                          <p:spTgt spid="9"/>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500" fill="hold"/>
                                        <p:tgtEl>
                                          <p:spTgt spid="10"/>
                                        </p:tgtEl>
                                        <p:attrNameLst>
                                          <p:attrName>ppt_x</p:attrName>
                                        </p:attrNameLst>
                                      </p:cBhvr>
                                      <p:tavLst>
                                        <p:tav tm="0">
                                          <p:val>
                                            <p:strVal val="#ppt_x"/>
                                          </p:val>
                                        </p:tav>
                                        <p:tav tm="100000">
                                          <p:val>
                                            <p:strVal val="#ppt_x"/>
                                          </p:val>
                                        </p:tav>
                                      </p:tavLst>
                                    </p:anim>
                                    <p:anim calcmode="lin" valueType="num">
                                      <p:cBhvr additive="base">
                                        <p:cTn id="26" dur="500" fill="hold"/>
                                        <p:tgtEl>
                                          <p:spTgt spid="10"/>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11"/>
                                        </p:tgtEl>
                                        <p:attrNameLst>
                                          <p:attrName>style.visibility</p:attrName>
                                        </p:attrNameLst>
                                      </p:cBhvr>
                                      <p:to>
                                        <p:strVal val="visible"/>
                                      </p:to>
                                    </p:set>
                                    <p:anim calcmode="lin" valueType="num">
                                      <p:cBhvr additive="base">
                                        <p:cTn id="29" dur="500" fill="hold"/>
                                        <p:tgtEl>
                                          <p:spTgt spid="11"/>
                                        </p:tgtEl>
                                        <p:attrNameLst>
                                          <p:attrName>ppt_x</p:attrName>
                                        </p:attrNameLst>
                                      </p:cBhvr>
                                      <p:tavLst>
                                        <p:tav tm="0">
                                          <p:val>
                                            <p:strVal val="#ppt_x"/>
                                          </p:val>
                                        </p:tav>
                                        <p:tav tm="100000">
                                          <p:val>
                                            <p:strVal val="#ppt_x"/>
                                          </p:val>
                                        </p:tav>
                                      </p:tavLst>
                                    </p:anim>
                                    <p:anim calcmode="lin" valueType="num">
                                      <p:cBhvr additive="base">
                                        <p:cTn id="30"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anim calcmode="lin" valueType="num">
                                      <p:cBhvr additive="base">
                                        <p:cTn id="35" dur="500" fill="hold"/>
                                        <p:tgtEl>
                                          <p:spTgt spid="12"/>
                                        </p:tgtEl>
                                        <p:attrNameLst>
                                          <p:attrName>ppt_x</p:attrName>
                                        </p:attrNameLst>
                                      </p:cBhvr>
                                      <p:tavLst>
                                        <p:tav tm="0">
                                          <p:val>
                                            <p:strVal val="#ppt_x"/>
                                          </p:val>
                                        </p:tav>
                                        <p:tav tm="100000">
                                          <p:val>
                                            <p:strVal val="#ppt_x"/>
                                          </p:val>
                                        </p:tav>
                                      </p:tavLst>
                                    </p:anim>
                                    <p:anim calcmode="lin" valueType="num">
                                      <p:cBhvr additive="base">
                                        <p:cTn id="36" dur="500" fill="hold"/>
                                        <p:tgtEl>
                                          <p:spTgt spid="12"/>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anim calcmode="lin" valueType="num">
                                      <p:cBhvr additive="base">
                                        <p:cTn id="39" dur="500" fill="hold"/>
                                        <p:tgtEl>
                                          <p:spTgt spid="13"/>
                                        </p:tgtEl>
                                        <p:attrNameLst>
                                          <p:attrName>ppt_x</p:attrName>
                                        </p:attrNameLst>
                                      </p:cBhvr>
                                      <p:tavLst>
                                        <p:tav tm="0">
                                          <p:val>
                                            <p:strVal val="#ppt_x"/>
                                          </p:val>
                                        </p:tav>
                                        <p:tav tm="100000">
                                          <p:val>
                                            <p:strVal val="#ppt_x"/>
                                          </p:val>
                                        </p:tav>
                                      </p:tavLst>
                                    </p:anim>
                                    <p:anim calcmode="lin" valueType="num">
                                      <p:cBhvr additive="base">
                                        <p:cTn id="40" dur="500" fill="hold"/>
                                        <p:tgtEl>
                                          <p:spTgt spid="13"/>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14"/>
                                        </p:tgtEl>
                                        <p:attrNameLst>
                                          <p:attrName>style.visibility</p:attrName>
                                        </p:attrNameLst>
                                      </p:cBhvr>
                                      <p:to>
                                        <p:strVal val="visible"/>
                                      </p:to>
                                    </p:set>
                                    <p:anim calcmode="lin" valueType="num">
                                      <p:cBhvr additive="base">
                                        <p:cTn id="43" dur="500" fill="hold"/>
                                        <p:tgtEl>
                                          <p:spTgt spid="14"/>
                                        </p:tgtEl>
                                        <p:attrNameLst>
                                          <p:attrName>ppt_x</p:attrName>
                                        </p:attrNameLst>
                                      </p:cBhvr>
                                      <p:tavLst>
                                        <p:tav tm="0">
                                          <p:val>
                                            <p:strVal val="#ppt_x"/>
                                          </p:val>
                                        </p:tav>
                                        <p:tav tm="100000">
                                          <p:val>
                                            <p:strVal val="#ppt_x"/>
                                          </p:val>
                                        </p:tav>
                                      </p:tavLst>
                                    </p:anim>
                                    <p:anim calcmode="lin" valueType="num">
                                      <p:cBhvr additive="base">
                                        <p:cTn id="4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15"/>
                                        </p:tgtEl>
                                        <p:attrNameLst>
                                          <p:attrName>style.visibility</p:attrName>
                                        </p:attrNameLst>
                                      </p:cBhvr>
                                      <p:to>
                                        <p:strVal val="visible"/>
                                      </p:to>
                                    </p:set>
                                    <p:anim calcmode="lin" valueType="num">
                                      <p:cBhvr additive="base">
                                        <p:cTn id="49" dur="500" fill="hold"/>
                                        <p:tgtEl>
                                          <p:spTgt spid="15"/>
                                        </p:tgtEl>
                                        <p:attrNameLst>
                                          <p:attrName>ppt_x</p:attrName>
                                        </p:attrNameLst>
                                      </p:cBhvr>
                                      <p:tavLst>
                                        <p:tav tm="0">
                                          <p:val>
                                            <p:strVal val="#ppt_x"/>
                                          </p:val>
                                        </p:tav>
                                        <p:tav tm="100000">
                                          <p:val>
                                            <p:strVal val="#ppt_x"/>
                                          </p:val>
                                        </p:tav>
                                      </p:tavLst>
                                    </p:anim>
                                    <p:anim calcmode="lin" valueType="num">
                                      <p:cBhvr additive="base">
                                        <p:cTn id="50" dur="500" fill="hold"/>
                                        <p:tgtEl>
                                          <p:spTgt spid="15"/>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16"/>
                                        </p:tgtEl>
                                        <p:attrNameLst>
                                          <p:attrName>style.visibility</p:attrName>
                                        </p:attrNameLst>
                                      </p:cBhvr>
                                      <p:to>
                                        <p:strVal val="visible"/>
                                      </p:to>
                                    </p:set>
                                    <p:anim calcmode="lin" valueType="num">
                                      <p:cBhvr additive="base">
                                        <p:cTn id="53" dur="500" fill="hold"/>
                                        <p:tgtEl>
                                          <p:spTgt spid="16"/>
                                        </p:tgtEl>
                                        <p:attrNameLst>
                                          <p:attrName>ppt_x</p:attrName>
                                        </p:attrNameLst>
                                      </p:cBhvr>
                                      <p:tavLst>
                                        <p:tav tm="0">
                                          <p:val>
                                            <p:strVal val="#ppt_x"/>
                                          </p:val>
                                        </p:tav>
                                        <p:tav tm="100000">
                                          <p:val>
                                            <p:strVal val="#ppt_x"/>
                                          </p:val>
                                        </p:tav>
                                      </p:tavLst>
                                    </p:anim>
                                    <p:anim calcmode="lin" valueType="num">
                                      <p:cBhvr additive="base">
                                        <p:cTn id="54" dur="500" fill="hold"/>
                                        <p:tgtEl>
                                          <p:spTgt spid="16"/>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17"/>
                                        </p:tgtEl>
                                        <p:attrNameLst>
                                          <p:attrName>style.visibility</p:attrName>
                                        </p:attrNameLst>
                                      </p:cBhvr>
                                      <p:to>
                                        <p:strVal val="visible"/>
                                      </p:to>
                                    </p:set>
                                    <p:anim calcmode="lin" valueType="num">
                                      <p:cBhvr additive="base">
                                        <p:cTn id="57" dur="500" fill="hold"/>
                                        <p:tgtEl>
                                          <p:spTgt spid="17"/>
                                        </p:tgtEl>
                                        <p:attrNameLst>
                                          <p:attrName>ppt_x</p:attrName>
                                        </p:attrNameLst>
                                      </p:cBhvr>
                                      <p:tavLst>
                                        <p:tav tm="0">
                                          <p:val>
                                            <p:strVal val="#ppt_x"/>
                                          </p:val>
                                        </p:tav>
                                        <p:tav tm="100000">
                                          <p:val>
                                            <p:strVal val="#ppt_x"/>
                                          </p:val>
                                        </p:tav>
                                      </p:tavLst>
                                    </p:anim>
                                    <p:anim calcmode="lin" valueType="num">
                                      <p:cBhvr additive="base">
                                        <p:cTn id="5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4" fill="hold" grpId="0" nodeType="clickEffect">
                                  <p:stCondLst>
                                    <p:cond delay="0"/>
                                  </p:stCondLst>
                                  <p:childTnLst>
                                    <p:set>
                                      <p:cBhvr>
                                        <p:cTn id="62" dur="1" fill="hold">
                                          <p:stCondLst>
                                            <p:cond delay="0"/>
                                          </p:stCondLst>
                                        </p:cTn>
                                        <p:tgtEl>
                                          <p:spTgt spid="18"/>
                                        </p:tgtEl>
                                        <p:attrNameLst>
                                          <p:attrName>style.visibility</p:attrName>
                                        </p:attrNameLst>
                                      </p:cBhvr>
                                      <p:to>
                                        <p:strVal val="visible"/>
                                      </p:to>
                                    </p:set>
                                    <p:anim calcmode="lin" valueType="num">
                                      <p:cBhvr additive="base">
                                        <p:cTn id="63" dur="500" fill="hold"/>
                                        <p:tgtEl>
                                          <p:spTgt spid="18"/>
                                        </p:tgtEl>
                                        <p:attrNameLst>
                                          <p:attrName>ppt_x</p:attrName>
                                        </p:attrNameLst>
                                      </p:cBhvr>
                                      <p:tavLst>
                                        <p:tav tm="0">
                                          <p:val>
                                            <p:strVal val="#ppt_x"/>
                                          </p:val>
                                        </p:tav>
                                        <p:tav tm="100000">
                                          <p:val>
                                            <p:strVal val="#ppt_x"/>
                                          </p:val>
                                        </p:tav>
                                      </p:tavLst>
                                    </p:anim>
                                    <p:anim calcmode="lin" valueType="num">
                                      <p:cBhvr additive="base">
                                        <p:cTn id="64" dur="500" fill="hold"/>
                                        <p:tgtEl>
                                          <p:spTgt spid="18"/>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19"/>
                                        </p:tgtEl>
                                        <p:attrNameLst>
                                          <p:attrName>style.visibility</p:attrName>
                                        </p:attrNameLst>
                                      </p:cBhvr>
                                      <p:to>
                                        <p:strVal val="visible"/>
                                      </p:to>
                                    </p:set>
                                    <p:anim calcmode="lin" valueType="num">
                                      <p:cBhvr additive="base">
                                        <p:cTn id="67" dur="500" fill="hold"/>
                                        <p:tgtEl>
                                          <p:spTgt spid="19"/>
                                        </p:tgtEl>
                                        <p:attrNameLst>
                                          <p:attrName>ppt_x</p:attrName>
                                        </p:attrNameLst>
                                      </p:cBhvr>
                                      <p:tavLst>
                                        <p:tav tm="0">
                                          <p:val>
                                            <p:strVal val="#ppt_x"/>
                                          </p:val>
                                        </p:tav>
                                        <p:tav tm="100000">
                                          <p:val>
                                            <p:strVal val="#ppt_x"/>
                                          </p:val>
                                        </p:tav>
                                      </p:tavLst>
                                    </p:anim>
                                    <p:anim calcmode="lin" valueType="num">
                                      <p:cBhvr additive="base">
                                        <p:cTn id="68" dur="500" fill="hold"/>
                                        <p:tgtEl>
                                          <p:spTgt spid="19"/>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20"/>
                                        </p:tgtEl>
                                        <p:attrNameLst>
                                          <p:attrName>style.visibility</p:attrName>
                                        </p:attrNameLst>
                                      </p:cBhvr>
                                      <p:to>
                                        <p:strVal val="visible"/>
                                      </p:to>
                                    </p:set>
                                    <p:anim calcmode="lin" valueType="num">
                                      <p:cBhvr additive="base">
                                        <p:cTn id="71" dur="500" fill="hold"/>
                                        <p:tgtEl>
                                          <p:spTgt spid="20"/>
                                        </p:tgtEl>
                                        <p:attrNameLst>
                                          <p:attrName>ppt_x</p:attrName>
                                        </p:attrNameLst>
                                      </p:cBhvr>
                                      <p:tavLst>
                                        <p:tav tm="0">
                                          <p:val>
                                            <p:strVal val="#ppt_x"/>
                                          </p:val>
                                        </p:tav>
                                        <p:tav tm="100000">
                                          <p:val>
                                            <p:strVal val="#ppt_x"/>
                                          </p:val>
                                        </p:tav>
                                      </p:tavLst>
                                    </p:anim>
                                    <p:anim calcmode="lin" valueType="num">
                                      <p:cBhvr additive="base">
                                        <p:cTn id="72"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2" presetClass="entr" presetSubtype="4" fill="hold" grpId="0" nodeType="clickEffect">
                                  <p:stCondLst>
                                    <p:cond delay="0"/>
                                  </p:stCondLst>
                                  <p:childTnLst>
                                    <p:set>
                                      <p:cBhvr>
                                        <p:cTn id="76" dur="1" fill="hold">
                                          <p:stCondLst>
                                            <p:cond delay="0"/>
                                          </p:stCondLst>
                                        </p:cTn>
                                        <p:tgtEl>
                                          <p:spTgt spid="21"/>
                                        </p:tgtEl>
                                        <p:attrNameLst>
                                          <p:attrName>style.visibility</p:attrName>
                                        </p:attrNameLst>
                                      </p:cBhvr>
                                      <p:to>
                                        <p:strVal val="visible"/>
                                      </p:to>
                                    </p:set>
                                    <p:anim calcmode="lin" valueType="num">
                                      <p:cBhvr additive="base">
                                        <p:cTn id="77" dur="500" fill="hold"/>
                                        <p:tgtEl>
                                          <p:spTgt spid="21"/>
                                        </p:tgtEl>
                                        <p:attrNameLst>
                                          <p:attrName>ppt_x</p:attrName>
                                        </p:attrNameLst>
                                      </p:cBhvr>
                                      <p:tavLst>
                                        <p:tav tm="0">
                                          <p:val>
                                            <p:strVal val="#ppt_x"/>
                                          </p:val>
                                        </p:tav>
                                        <p:tav tm="100000">
                                          <p:val>
                                            <p:strVal val="#ppt_x"/>
                                          </p:val>
                                        </p:tav>
                                      </p:tavLst>
                                    </p:anim>
                                    <p:anim calcmode="lin" valueType="num">
                                      <p:cBhvr additive="base">
                                        <p:cTn id="78" dur="500" fill="hold"/>
                                        <p:tgtEl>
                                          <p:spTgt spid="21"/>
                                        </p:tgtEl>
                                        <p:attrNameLst>
                                          <p:attrName>ppt_y</p:attrName>
                                        </p:attrNameLst>
                                      </p:cBhvr>
                                      <p:tavLst>
                                        <p:tav tm="0">
                                          <p:val>
                                            <p:strVal val="1+#ppt_h/2"/>
                                          </p:val>
                                        </p:tav>
                                        <p:tav tm="100000">
                                          <p:val>
                                            <p:strVal val="#ppt_y"/>
                                          </p:val>
                                        </p:tav>
                                      </p:tavLst>
                                    </p:anim>
                                  </p:childTnLst>
                                </p:cTn>
                              </p:par>
                              <p:par>
                                <p:cTn id="79" presetID="2" presetClass="entr" presetSubtype="4" fill="hold" grpId="0" nodeType="withEffect">
                                  <p:stCondLst>
                                    <p:cond delay="0"/>
                                  </p:stCondLst>
                                  <p:childTnLst>
                                    <p:set>
                                      <p:cBhvr>
                                        <p:cTn id="80" dur="1" fill="hold">
                                          <p:stCondLst>
                                            <p:cond delay="0"/>
                                          </p:stCondLst>
                                        </p:cTn>
                                        <p:tgtEl>
                                          <p:spTgt spid="22"/>
                                        </p:tgtEl>
                                        <p:attrNameLst>
                                          <p:attrName>style.visibility</p:attrName>
                                        </p:attrNameLst>
                                      </p:cBhvr>
                                      <p:to>
                                        <p:strVal val="visible"/>
                                      </p:to>
                                    </p:set>
                                    <p:anim calcmode="lin" valueType="num">
                                      <p:cBhvr additive="base">
                                        <p:cTn id="81" dur="500" fill="hold"/>
                                        <p:tgtEl>
                                          <p:spTgt spid="22"/>
                                        </p:tgtEl>
                                        <p:attrNameLst>
                                          <p:attrName>ppt_x</p:attrName>
                                        </p:attrNameLst>
                                      </p:cBhvr>
                                      <p:tavLst>
                                        <p:tav tm="0">
                                          <p:val>
                                            <p:strVal val="#ppt_x"/>
                                          </p:val>
                                        </p:tav>
                                        <p:tav tm="100000">
                                          <p:val>
                                            <p:strVal val="#ppt_x"/>
                                          </p:val>
                                        </p:tav>
                                      </p:tavLst>
                                    </p:anim>
                                    <p:anim calcmode="lin" valueType="num">
                                      <p:cBhvr additive="base">
                                        <p:cTn id="82" dur="500" fill="hold"/>
                                        <p:tgtEl>
                                          <p:spTgt spid="22"/>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23"/>
                                        </p:tgtEl>
                                        <p:attrNameLst>
                                          <p:attrName>style.visibility</p:attrName>
                                        </p:attrNameLst>
                                      </p:cBhvr>
                                      <p:to>
                                        <p:strVal val="visible"/>
                                      </p:to>
                                    </p:set>
                                    <p:anim calcmode="lin" valueType="num">
                                      <p:cBhvr additive="base">
                                        <p:cTn id="85" dur="500" fill="hold"/>
                                        <p:tgtEl>
                                          <p:spTgt spid="23"/>
                                        </p:tgtEl>
                                        <p:attrNameLst>
                                          <p:attrName>ppt_x</p:attrName>
                                        </p:attrNameLst>
                                      </p:cBhvr>
                                      <p:tavLst>
                                        <p:tav tm="0">
                                          <p:val>
                                            <p:strVal val="#ppt_x"/>
                                          </p:val>
                                        </p:tav>
                                        <p:tav tm="100000">
                                          <p:val>
                                            <p:strVal val="#ppt_x"/>
                                          </p:val>
                                        </p:tav>
                                      </p:tavLst>
                                    </p:anim>
                                    <p:anim calcmode="lin" valueType="num">
                                      <p:cBhvr additive="base">
                                        <p:cTn id="86"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p:bldP spid="9" grpId="0" animBg="1"/>
      <p:bldP spid="10" grpId="0" animBg="1"/>
      <p:bldP spid="11" grpId="0"/>
      <p:bldP spid="12" grpId="0" animBg="1"/>
      <p:bldP spid="13" grpId="0" animBg="1"/>
      <p:bldP spid="14" grpId="0"/>
      <p:bldP spid="15" grpId="0" animBg="1"/>
      <p:bldP spid="16" grpId="0" animBg="1"/>
      <p:bldP spid="17" grpId="0"/>
      <p:bldP spid="18" grpId="0" animBg="1"/>
      <p:bldP spid="19" grpId="0" animBg="1"/>
      <p:bldP spid="20" grpId="0"/>
      <p:bldP spid="21" grpId="0" animBg="1"/>
      <p:bldP spid="22" grpId="0" animBg="1"/>
      <p:bldP spid="2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B0323D-7029-D11B-D0DE-05B6AB587F8E}"/>
              </a:ext>
            </a:extLst>
          </p:cNvPr>
          <p:cNvSpPr>
            <a:spLocks noGrp="1"/>
          </p:cNvSpPr>
          <p:nvPr>
            <p:ph type="title"/>
          </p:nvPr>
        </p:nvSpPr>
        <p:spPr/>
        <p:txBody>
          <a:bodyPr/>
          <a:lstStyle/>
          <a:p>
            <a:r>
              <a:rPr lang="en-US" sz="3200" dirty="0"/>
              <a:t>Why does ethics matter in automated road coding?</a:t>
            </a:r>
          </a:p>
        </p:txBody>
      </p:sp>
      <p:sp>
        <p:nvSpPr>
          <p:cNvPr id="4" name="Footer Placeholder 3">
            <a:extLst>
              <a:ext uri="{FF2B5EF4-FFF2-40B4-BE49-F238E27FC236}">
                <a16:creationId xmlns:a16="http://schemas.microsoft.com/office/drawing/2014/main" id="{AC9CFB43-B519-72D0-D317-6BB9DB8048DF}"/>
              </a:ext>
            </a:extLst>
          </p:cNvPr>
          <p:cNvSpPr>
            <a:spLocks noGrp="1"/>
          </p:cNvSpPr>
          <p:nvPr>
            <p:ph type="ftr" sz="quarter" idx="14"/>
          </p:nvPr>
        </p:nvSpPr>
        <p:spPr/>
        <p:txBody>
          <a:bodyPr/>
          <a:lstStyle/>
          <a:p>
            <a:pPr>
              <a:defRPr/>
            </a:pPr>
            <a:r>
              <a:rPr lang="en-GB"/>
              <a:t>www.ivory-network.eu</a:t>
            </a:r>
          </a:p>
        </p:txBody>
      </p:sp>
      <p:sp>
        <p:nvSpPr>
          <p:cNvPr id="7" name="Content Placeholder 2">
            <a:extLst>
              <a:ext uri="{FF2B5EF4-FFF2-40B4-BE49-F238E27FC236}">
                <a16:creationId xmlns:a16="http://schemas.microsoft.com/office/drawing/2014/main" id="{3AF672E0-7A84-D7E4-632C-4260D1DAE97E}"/>
              </a:ext>
            </a:extLst>
          </p:cNvPr>
          <p:cNvSpPr txBox="1">
            <a:spLocks/>
          </p:cNvSpPr>
          <p:nvPr/>
        </p:nvSpPr>
        <p:spPr>
          <a:xfrm>
            <a:off x="6172200" y="1383174"/>
            <a:ext cx="5181600" cy="4351338"/>
          </a:xfrm>
          <a:prstGeom prst="rect">
            <a:avLst/>
          </a:prstGeom>
        </p:spPr>
        <p:txBody>
          <a:bodyPr wrap="square" lIns="91440" tIns="45720" rIns="91440" bIns="45720" anchor="t">
            <a:normAutofit/>
          </a:bodyPr>
          <a:lstStyle>
            <a:lvl1pPr marL="357188" indent="-357188" algn="l" rtl="0" eaLnBrk="1" fontAlgn="base" hangingPunct="1">
              <a:lnSpc>
                <a:spcPct val="90000"/>
              </a:lnSpc>
              <a:spcBef>
                <a:spcPts val="1000"/>
              </a:spcBef>
              <a:spcAft>
                <a:spcPct val="0"/>
              </a:spcAft>
              <a:buClr>
                <a:srgbClr val="ADB9CA"/>
              </a:buClr>
              <a:buSzPct val="90000"/>
              <a:buFont typeface="Wingdings" panose="05000000000000000000" pitchFamily="2" charset="2"/>
              <a:buChar char="v"/>
              <a:defRPr sz="2800" kern="1200">
                <a:solidFill>
                  <a:schemeClr val="tx1"/>
                </a:solidFill>
                <a:latin typeface="+mn-lt"/>
                <a:ea typeface="+mn-ea"/>
                <a:cs typeface="+mn-cs"/>
              </a:defRPr>
            </a:lvl1pPr>
            <a:lvl2pPr marL="712788" indent="-255588" algn="l" rtl="0" eaLnBrk="1" fontAlgn="base" hangingPunct="1">
              <a:lnSpc>
                <a:spcPct val="90000"/>
              </a:lnSpc>
              <a:spcBef>
                <a:spcPts val="500"/>
              </a:spcBef>
              <a:spcAft>
                <a:spcPct val="0"/>
              </a:spcAft>
              <a:buClr>
                <a:srgbClr val="B8C3D1"/>
              </a:buClr>
              <a:buSzPct val="90000"/>
              <a:buFont typeface="Courier New" panose="02070309020205020404" pitchFamily="49" charset="0"/>
              <a:buChar char="o"/>
              <a:defRPr sz="2400" kern="1200">
                <a:solidFill>
                  <a:schemeClr val="tx1"/>
                </a:solidFill>
                <a:latin typeface="+mn-lt"/>
                <a:ea typeface="+mn-ea"/>
                <a:cs typeface="+mn-cs"/>
              </a:defRPr>
            </a:lvl2pPr>
            <a:lvl3pPr marL="1162050" indent="-247650" algn="l" rtl="0" eaLnBrk="1" fontAlgn="base" hangingPunct="1">
              <a:lnSpc>
                <a:spcPct val="90000"/>
              </a:lnSpc>
              <a:spcBef>
                <a:spcPts val="500"/>
              </a:spcBef>
              <a:spcAft>
                <a:spcPct val="0"/>
              </a:spcAft>
              <a:buClr>
                <a:srgbClr val="B8C3D1"/>
              </a:buClr>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500" b="1" dirty="0"/>
              <a:t>Why it matters:</a:t>
            </a:r>
            <a:endParaRPr lang="en-US" sz="1500" dirty="0"/>
          </a:p>
          <a:p>
            <a:pPr marL="285750" indent="-285750">
              <a:buFont typeface="Arial" panose="020B0604020202020204" pitchFamily="34" charset="0"/>
              <a:buChar char="•"/>
            </a:pPr>
            <a:r>
              <a:rPr lang="en-US" sz="1500" dirty="0"/>
              <a:t>The output sits inside a safety-assessment workflow.</a:t>
            </a:r>
            <a:endParaRPr lang="en-US" sz="1500" dirty="0">
              <a:ea typeface="Calibri"/>
              <a:cs typeface="Calibri"/>
            </a:endParaRPr>
          </a:p>
          <a:p>
            <a:pPr marL="285750" indent="-285750">
              <a:buFont typeface="Arial" panose="020B0604020202020204" pitchFamily="34" charset="0"/>
              <a:buChar char="•"/>
            </a:pPr>
            <a:r>
              <a:rPr lang="en-US" sz="1500" dirty="0"/>
              <a:t>A reviewer should be able to inspect the evidence behind the code.</a:t>
            </a:r>
            <a:endParaRPr lang="en-US" sz="1500" dirty="0">
              <a:ea typeface="Calibri"/>
              <a:cs typeface="Calibri"/>
            </a:endParaRPr>
          </a:p>
          <a:p>
            <a:pPr marL="285750" indent="-285750">
              <a:buFont typeface="Arial" panose="020B0604020202020204" pitchFamily="34" charset="0"/>
              <a:buChar char="•"/>
            </a:pPr>
            <a:r>
              <a:rPr lang="en-US" sz="1500" dirty="0"/>
              <a:t>Weak explanations also weaken meaningful human oversight.</a:t>
            </a:r>
            <a:endParaRPr lang="en-US" sz="1500" dirty="0">
              <a:ea typeface="Calibri"/>
              <a:cs typeface="Calibri"/>
            </a:endParaRPr>
          </a:p>
          <a:p>
            <a:pPr marL="285750" indent="-285750">
              <a:buFont typeface="Arial" panose="020B0604020202020204" pitchFamily="34" charset="0"/>
              <a:buChar char="•"/>
            </a:pPr>
            <a:endParaRPr lang="en-US" sz="1500" dirty="0">
              <a:ea typeface="Calibri"/>
              <a:cs typeface="Calibri"/>
            </a:endParaRPr>
          </a:p>
          <a:p>
            <a:pPr marL="0" indent="0">
              <a:buNone/>
            </a:pPr>
            <a:r>
              <a:rPr lang="en-US" sz="1500" b="1" dirty="0"/>
              <a:t>Core Issue:</a:t>
            </a:r>
            <a:endParaRPr lang="en-US" sz="1500" b="1" dirty="0">
              <a:ea typeface="Calibri"/>
              <a:cs typeface="Calibri"/>
            </a:endParaRPr>
          </a:p>
          <a:p>
            <a:pPr marL="356870" indent="-356870">
              <a:buFont typeface="Arial" panose="020B0604020202020204" pitchFamily="34" charset="0"/>
              <a:buChar char="•"/>
            </a:pPr>
            <a:r>
              <a:rPr lang="en-US" sz="1500" dirty="0"/>
              <a:t>Our target is not just an object in an image. It is a coded road attribute produced under rules. So the real issue is not only accuracy, but whether the prediction can be justified.</a:t>
            </a:r>
            <a:endParaRPr lang="en-US" sz="1500" dirty="0">
              <a:ea typeface="Calibri"/>
              <a:cs typeface="Calibri"/>
            </a:endParaRPr>
          </a:p>
          <a:p>
            <a:pPr marL="285750" indent="-285750">
              <a:buFont typeface="Arial" panose="020B0604020202020204" pitchFamily="34" charset="0"/>
              <a:buChar char="•"/>
            </a:pPr>
            <a:endParaRPr lang="en-US" sz="1500" dirty="0">
              <a:ea typeface="Calibri"/>
              <a:cs typeface="Calibri"/>
            </a:endParaRPr>
          </a:p>
          <a:p>
            <a:pPr marL="0" indent="0">
              <a:buNone/>
            </a:pPr>
            <a:r>
              <a:rPr lang="en-US" sz="1500" b="1" dirty="0"/>
              <a:t>Bottom Line:</a:t>
            </a:r>
            <a:endParaRPr lang="en-US" sz="1500" b="1" dirty="0">
              <a:ea typeface="Calibri"/>
              <a:cs typeface="Calibri"/>
            </a:endParaRPr>
          </a:p>
          <a:p>
            <a:pPr marL="356870" indent="-356870">
              <a:buFont typeface="Arial" panose="020B0604020202020204" pitchFamily="34" charset="0"/>
              <a:buChar char="•"/>
            </a:pPr>
            <a:r>
              <a:rPr lang="en-US" sz="1500" i="1" dirty="0"/>
              <a:t>Explainability matters here because it makes coder–model disagreement auditable.</a:t>
            </a:r>
            <a:endParaRPr lang="en-US" sz="1500" i="1" dirty="0">
              <a:ea typeface="Calibri"/>
              <a:cs typeface="Calibri"/>
            </a:endParaRPr>
          </a:p>
        </p:txBody>
      </p:sp>
      <p:graphicFrame>
        <p:nvGraphicFramePr>
          <p:cNvPr id="8" name="Content Placeholder 57">
            <a:extLst>
              <a:ext uri="{FF2B5EF4-FFF2-40B4-BE49-F238E27FC236}">
                <a16:creationId xmlns:a16="http://schemas.microsoft.com/office/drawing/2014/main" id="{1094A91F-E05D-7EE0-D5FD-04EB9C2B5EF2}"/>
              </a:ext>
            </a:extLst>
          </p:cNvPr>
          <p:cNvGraphicFramePr>
            <a:graphicFrameLocks/>
          </p:cNvGraphicFramePr>
          <p:nvPr/>
        </p:nvGraphicFramePr>
        <p:xfrm>
          <a:off x="838200" y="1383174"/>
          <a:ext cx="5181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262255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604C96-CB47-ED68-A489-71E4A5C813AA}"/>
              </a:ext>
            </a:extLst>
          </p:cNvPr>
          <p:cNvSpPr>
            <a:spLocks noGrp="1"/>
          </p:cNvSpPr>
          <p:nvPr>
            <p:ph type="title"/>
          </p:nvPr>
        </p:nvSpPr>
        <p:spPr>
          <a:xfrm>
            <a:off x="838200" y="117443"/>
            <a:ext cx="10515600" cy="1052513"/>
          </a:xfrm>
        </p:spPr>
        <p:txBody>
          <a:bodyPr wrap="square" anchor="ctr">
            <a:normAutofit/>
          </a:bodyPr>
          <a:lstStyle/>
          <a:p>
            <a:r>
              <a:rPr lang="en-US" sz="3200" dirty="0"/>
              <a:t>Coder-model disagreement in road assessment</a:t>
            </a:r>
          </a:p>
        </p:txBody>
      </p:sp>
      <p:sp>
        <p:nvSpPr>
          <p:cNvPr id="4" name="Footer Placeholder 3">
            <a:extLst>
              <a:ext uri="{FF2B5EF4-FFF2-40B4-BE49-F238E27FC236}">
                <a16:creationId xmlns:a16="http://schemas.microsoft.com/office/drawing/2014/main" id="{E83AE77A-6D22-EE90-5009-027D4B156D53}"/>
              </a:ext>
            </a:extLst>
          </p:cNvPr>
          <p:cNvSpPr>
            <a:spLocks noGrp="1"/>
          </p:cNvSpPr>
          <p:nvPr>
            <p:ph type="ftr" sz="quarter" idx="14"/>
          </p:nvPr>
        </p:nvSpPr>
        <p:spPr>
          <a:xfrm>
            <a:off x="4095750" y="6330950"/>
            <a:ext cx="4114800" cy="365125"/>
          </a:xfrm>
        </p:spPr>
        <p:txBody>
          <a:bodyPr anchor="ctr">
            <a:normAutofit/>
          </a:bodyPr>
          <a:lstStyle/>
          <a:p>
            <a:pPr>
              <a:spcAft>
                <a:spcPts val="600"/>
              </a:spcAft>
              <a:defRPr/>
            </a:pPr>
            <a:r>
              <a:rPr lang="en-GB"/>
              <a:t>www.ivory-network.eu</a:t>
            </a:r>
          </a:p>
        </p:txBody>
      </p:sp>
      <p:graphicFrame>
        <p:nvGraphicFramePr>
          <p:cNvPr id="6" name="Content Placeholder 2">
            <a:extLst>
              <a:ext uri="{FF2B5EF4-FFF2-40B4-BE49-F238E27FC236}">
                <a16:creationId xmlns:a16="http://schemas.microsoft.com/office/drawing/2014/main" id="{3D8ACAB4-4419-B164-A0A8-DA221DFDA46A}"/>
              </a:ext>
            </a:extLst>
          </p:cNvPr>
          <p:cNvGraphicFramePr>
            <a:graphicFrameLocks noGrp="1"/>
          </p:cNvGraphicFramePr>
          <p:nvPr>
            <p:ph idx="1"/>
            <p:extLst>
              <p:ext uri="{D42A27DB-BD31-4B8C-83A1-F6EECF244321}">
                <p14:modId xmlns:p14="http://schemas.microsoft.com/office/powerpoint/2010/main" val="2155298814"/>
              </p:ext>
            </p:extLst>
          </p:nvPr>
        </p:nvGraphicFramePr>
        <p:xfrm>
          <a:off x="6288505" y="1169956"/>
          <a:ext cx="5394158" cy="49300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72146A91-1A1D-F41C-60C0-138466B6B8FB}"/>
              </a:ext>
            </a:extLst>
          </p:cNvPr>
          <p:cNvPicPr>
            <a:picLocks noChangeAspect="1"/>
          </p:cNvPicPr>
          <p:nvPr/>
        </p:nvPicPr>
        <p:blipFill>
          <a:blip r:embed="rId8"/>
          <a:stretch>
            <a:fillRect/>
          </a:stretch>
        </p:blipFill>
        <p:spPr>
          <a:xfrm>
            <a:off x="462412" y="4036381"/>
            <a:ext cx="4734951" cy="1664437"/>
          </a:xfrm>
          <a:prstGeom prst="rect">
            <a:avLst/>
          </a:prstGeom>
        </p:spPr>
      </p:pic>
      <p:pic>
        <p:nvPicPr>
          <p:cNvPr id="13" name="Image 3" descr="/mnt/data/ppt_work/ppt/media/image29.png"/>
          <p:cNvPicPr>
            <a:picLocks noChangeAspect="1"/>
          </p:cNvPicPr>
          <p:nvPr/>
        </p:nvPicPr>
        <p:blipFill>
          <a:blip r:embed="rId9"/>
          <a:srcRect t="2997" b="2997"/>
          <a:stretch/>
        </p:blipFill>
        <p:spPr>
          <a:xfrm>
            <a:off x="841248" y="1481328"/>
            <a:ext cx="4892040" cy="2148840"/>
          </a:xfrm>
          <a:prstGeom prst="rect">
            <a:avLst/>
          </a:prstGeom>
        </p:spPr>
      </p:pic>
      <p:sp>
        <p:nvSpPr>
          <p:cNvPr id="21" name="Shape 8"/>
          <p:cNvSpPr/>
          <p:nvPr/>
        </p:nvSpPr>
        <p:spPr>
          <a:xfrm>
            <a:off x="4619752" y="1690360"/>
            <a:ext cx="960120" cy="256032"/>
          </a:xfrm>
          <a:prstGeom prst="roundRect">
            <a:avLst>
              <a:gd name="adj" fmla="val 21429"/>
            </a:avLst>
          </a:prstGeom>
          <a:solidFill>
            <a:srgbClr val="3D5573"/>
          </a:solidFill>
          <a:ln w="12700">
            <a:solidFill>
              <a:srgbClr val="3D5573">
                <a:alpha val="0"/>
              </a:srgbClr>
            </a:solidFill>
            <a:prstDash val="solid"/>
          </a:ln>
        </p:spPr>
        <p:txBody>
          <a:bodyPr/>
          <a:lstStyle/>
          <a:p>
            <a:endParaRPr lang="en-US"/>
          </a:p>
        </p:txBody>
      </p:sp>
      <p:sp>
        <p:nvSpPr>
          <p:cNvPr id="22" name="Text 9"/>
          <p:cNvSpPr/>
          <p:nvPr/>
        </p:nvSpPr>
        <p:spPr>
          <a:xfrm>
            <a:off x="4619752" y="1731508"/>
            <a:ext cx="960120" cy="137160"/>
          </a:xfrm>
          <a:prstGeom prst="rect">
            <a:avLst/>
          </a:prstGeom>
          <a:noFill/>
          <a:ln/>
        </p:spPr>
        <p:txBody>
          <a:bodyPr wrap="square" lIns="0" tIns="0" rIns="0" bIns="0" rtlCol="0" anchor="ctr"/>
          <a:lstStyle/>
          <a:p>
            <a:pPr marL="0" indent="0" algn="ctr">
              <a:buNone/>
            </a:pPr>
            <a:r>
              <a:rPr lang="en-US" sz="880" b="1" dirty="0">
                <a:solidFill>
                  <a:srgbClr val="FFFFFF"/>
                </a:solidFill>
              </a:rPr>
              <a:t>single frame</a:t>
            </a:r>
            <a:endParaRPr lang="en-US" sz="880" dirty="0"/>
          </a:p>
        </p:txBody>
      </p:sp>
      <p:sp>
        <p:nvSpPr>
          <p:cNvPr id="23" name="Shape 10"/>
          <p:cNvSpPr/>
          <p:nvPr/>
        </p:nvSpPr>
        <p:spPr>
          <a:xfrm>
            <a:off x="924799" y="3142615"/>
            <a:ext cx="1115568" cy="256032"/>
          </a:xfrm>
          <a:prstGeom prst="roundRect">
            <a:avLst>
              <a:gd name="adj" fmla="val 21429"/>
            </a:avLst>
          </a:prstGeom>
          <a:solidFill>
            <a:srgbClr val="C14DFF"/>
          </a:solidFill>
          <a:ln w="12700">
            <a:solidFill>
              <a:srgbClr val="C14DFF">
                <a:alpha val="0"/>
              </a:srgbClr>
            </a:solidFill>
            <a:prstDash val="solid"/>
          </a:ln>
        </p:spPr>
        <p:txBody>
          <a:bodyPr/>
          <a:lstStyle/>
          <a:p>
            <a:endParaRPr lang="en-US"/>
          </a:p>
        </p:txBody>
      </p:sp>
      <p:sp>
        <p:nvSpPr>
          <p:cNvPr id="24" name="Text 11"/>
          <p:cNvSpPr/>
          <p:nvPr/>
        </p:nvSpPr>
        <p:spPr>
          <a:xfrm>
            <a:off x="924799" y="3183763"/>
            <a:ext cx="1115568" cy="137160"/>
          </a:xfrm>
          <a:prstGeom prst="rect">
            <a:avLst/>
          </a:prstGeom>
          <a:noFill/>
          <a:ln/>
        </p:spPr>
        <p:txBody>
          <a:bodyPr wrap="square" lIns="0" tIns="0" rIns="0" bIns="0" rtlCol="0" anchor="ctr"/>
          <a:lstStyle/>
          <a:p>
            <a:pPr marL="0" indent="0" algn="ctr">
              <a:buNone/>
            </a:pPr>
            <a:r>
              <a:rPr lang="en-US" sz="880" b="1" dirty="0">
                <a:solidFill>
                  <a:srgbClr val="FFFFFF"/>
                </a:solidFill>
              </a:rPr>
              <a:t>limited view</a:t>
            </a:r>
            <a:endParaRPr lang="en-US" sz="880" dirty="0"/>
          </a:p>
        </p:txBody>
      </p:sp>
    </p:spTree>
    <p:extLst>
      <p:ext uri="{BB962C8B-B14F-4D97-AF65-F5344CB8AC3E}">
        <p14:creationId xmlns:p14="http://schemas.microsoft.com/office/powerpoint/2010/main" val="17434308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E6DEC-4685-868D-66B6-E2DEDD58CF63}"/>
              </a:ext>
            </a:extLst>
          </p:cNvPr>
          <p:cNvSpPr>
            <a:spLocks noGrp="1"/>
          </p:cNvSpPr>
          <p:nvPr>
            <p:ph type="title"/>
          </p:nvPr>
        </p:nvSpPr>
        <p:spPr/>
        <p:txBody>
          <a:bodyPr/>
          <a:lstStyle/>
          <a:p>
            <a:r>
              <a:rPr lang="en-US" sz="3200" dirty="0"/>
              <a:t>Example: Labeling Rules, Hierarchy &amp; Distance</a:t>
            </a:r>
          </a:p>
        </p:txBody>
      </p:sp>
      <p:sp>
        <p:nvSpPr>
          <p:cNvPr id="4" name="Footer Placeholder 3">
            <a:extLst>
              <a:ext uri="{FF2B5EF4-FFF2-40B4-BE49-F238E27FC236}">
                <a16:creationId xmlns:a16="http://schemas.microsoft.com/office/drawing/2014/main" id="{1FE81914-2B3C-9039-E808-BFA66BABDDB7}"/>
              </a:ext>
            </a:extLst>
          </p:cNvPr>
          <p:cNvSpPr>
            <a:spLocks noGrp="1"/>
          </p:cNvSpPr>
          <p:nvPr>
            <p:ph type="ftr" sz="quarter" idx="14"/>
          </p:nvPr>
        </p:nvSpPr>
        <p:spPr/>
        <p:txBody>
          <a:bodyPr/>
          <a:lstStyle/>
          <a:p>
            <a:pPr>
              <a:defRPr/>
            </a:pPr>
            <a:r>
              <a:rPr lang="en-GB"/>
              <a:t>www.ivory-network.eu</a:t>
            </a:r>
          </a:p>
        </p:txBody>
      </p:sp>
      <p:pic>
        <p:nvPicPr>
          <p:cNvPr id="5" name="Content Placeholder 5">
            <a:extLst>
              <a:ext uri="{FF2B5EF4-FFF2-40B4-BE49-F238E27FC236}">
                <a16:creationId xmlns:a16="http://schemas.microsoft.com/office/drawing/2014/main" id="{09726B2C-9ED6-AE93-337D-3616F9B992C3}"/>
              </a:ext>
            </a:extLst>
          </p:cNvPr>
          <p:cNvPicPr>
            <a:picLocks noChangeAspect="1"/>
          </p:cNvPicPr>
          <p:nvPr/>
        </p:nvPicPr>
        <p:blipFill>
          <a:blip r:embed="rId2"/>
          <a:stretch>
            <a:fillRect/>
          </a:stretch>
        </p:blipFill>
        <p:spPr bwMode="auto">
          <a:xfrm>
            <a:off x="3290638" y="1169956"/>
            <a:ext cx="5209674" cy="4931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661279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421CD-6BC6-0D3D-D71D-D761A54802E7}"/>
              </a:ext>
            </a:extLst>
          </p:cNvPr>
          <p:cNvSpPr>
            <a:spLocks noGrp="1"/>
          </p:cNvSpPr>
          <p:nvPr>
            <p:ph type="title"/>
          </p:nvPr>
        </p:nvSpPr>
        <p:spPr/>
        <p:txBody>
          <a:bodyPr/>
          <a:lstStyle/>
          <a:p>
            <a:r>
              <a:rPr lang="en-US" sz="3200"/>
              <a:t>Example: Limited Visual Clues</a:t>
            </a:r>
          </a:p>
        </p:txBody>
      </p:sp>
      <p:sp>
        <p:nvSpPr>
          <p:cNvPr id="4" name="Footer Placeholder 3">
            <a:extLst>
              <a:ext uri="{FF2B5EF4-FFF2-40B4-BE49-F238E27FC236}">
                <a16:creationId xmlns:a16="http://schemas.microsoft.com/office/drawing/2014/main" id="{2BB6E17B-8CDF-D48A-96E2-26116E98BB33}"/>
              </a:ext>
            </a:extLst>
          </p:cNvPr>
          <p:cNvSpPr>
            <a:spLocks noGrp="1"/>
          </p:cNvSpPr>
          <p:nvPr>
            <p:ph type="ftr" sz="quarter" idx="14"/>
          </p:nvPr>
        </p:nvSpPr>
        <p:spPr/>
        <p:txBody>
          <a:bodyPr/>
          <a:lstStyle/>
          <a:p>
            <a:pPr>
              <a:defRPr/>
            </a:pPr>
            <a:r>
              <a:rPr lang="en-GB"/>
              <a:t>www.ivory-network.eu</a:t>
            </a:r>
          </a:p>
        </p:txBody>
      </p:sp>
      <p:pic>
        <p:nvPicPr>
          <p:cNvPr id="8" name="Content Placeholder 7">
            <a:extLst>
              <a:ext uri="{FF2B5EF4-FFF2-40B4-BE49-F238E27FC236}">
                <a16:creationId xmlns:a16="http://schemas.microsoft.com/office/drawing/2014/main" id="{A22EA3AC-9CC4-A861-2BC4-0D9B3E48A30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659079" y="1070979"/>
            <a:ext cx="5130264" cy="5136231"/>
          </a:xfrm>
          <a:prstGeom prst="rect">
            <a:avLst/>
          </a:prstGeom>
        </p:spPr>
      </p:pic>
      <p:pic>
        <p:nvPicPr>
          <p:cNvPr id="23" name="Picture 22">
            <a:extLst>
              <a:ext uri="{FF2B5EF4-FFF2-40B4-BE49-F238E27FC236}">
                <a16:creationId xmlns:a16="http://schemas.microsoft.com/office/drawing/2014/main" id="{09629F9B-B1AC-D62B-D95F-D921A5AA77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4503" y="1070980"/>
            <a:ext cx="4558419" cy="5016999"/>
          </a:xfrm>
          <a:prstGeom prst="rect">
            <a:avLst/>
          </a:prstGeom>
        </p:spPr>
      </p:pic>
    </p:spTree>
    <p:extLst>
      <p:ext uri="{BB962C8B-B14F-4D97-AF65-F5344CB8AC3E}">
        <p14:creationId xmlns:p14="http://schemas.microsoft.com/office/powerpoint/2010/main" val="35377621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Group 65">
            <a:extLst>
              <a:ext uri="{FF2B5EF4-FFF2-40B4-BE49-F238E27FC236}">
                <a16:creationId xmlns:a16="http://schemas.microsoft.com/office/drawing/2014/main" id="{ABFAAEBA-17ED-4067-9DCD-BFE108BB4D99}"/>
              </a:ext>
            </a:extLst>
          </p:cNvPr>
          <p:cNvGrpSpPr>
            <a:grpSpLocks noChangeAspect="1"/>
          </p:cNvGrpSpPr>
          <p:nvPr/>
        </p:nvGrpSpPr>
        <p:grpSpPr>
          <a:xfrm>
            <a:off x="3680111" y="1356565"/>
            <a:ext cx="4831365" cy="4453128"/>
            <a:chOff x="4038600" y="660399"/>
            <a:chExt cx="3255773" cy="3000885"/>
          </a:xfrm>
        </p:grpSpPr>
        <p:sp>
          <p:nvSpPr>
            <p:cNvPr id="67" name="Shape">
              <a:extLst>
                <a:ext uri="{FF2B5EF4-FFF2-40B4-BE49-F238E27FC236}">
                  <a16:creationId xmlns:a16="http://schemas.microsoft.com/office/drawing/2014/main" id="{503FABBD-7AF1-42E0-AAC2-4232A4472134}"/>
                </a:ext>
              </a:extLst>
            </p:cNvPr>
            <p:cNvSpPr/>
            <p:nvPr/>
          </p:nvSpPr>
          <p:spPr>
            <a:xfrm>
              <a:off x="5638800" y="660399"/>
              <a:ext cx="47752" cy="20840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2475"/>
                  </a:lnTo>
                  <a:cubicBezTo>
                    <a:pt x="0" y="1106"/>
                    <a:pt x="4825" y="0"/>
                    <a:pt x="10800" y="0"/>
                  </a:cubicBezTo>
                  <a:lnTo>
                    <a:pt x="10800" y="0"/>
                  </a:lnTo>
                  <a:cubicBezTo>
                    <a:pt x="16775" y="0"/>
                    <a:pt x="21600" y="1106"/>
                    <a:pt x="21600" y="2475"/>
                  </a:cubicBezTo>
                  <a:lnTo>
                    <a:pt x="21600" y="21600"/>
                  </a:lnTo>
                  <a:close/>
                </a:path>
              </a:pathLst>
            </a:custGeom>
            <a:solidFill>
              <a:srgbClr val="282828"/>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68" name="Rectangle">
              <a:extLst>
                <a:ext uri="{FF2B5EF4-FFF2-40B4-BE49-F238E27FC236}">
                  <a16:creationId xmlns:a16="http://schemas.microsoft.com/office/drawing/2014/main" id="{B9CC0CCB-275D-4EE3-A4A7-F2882A86BCF3}"/>
                </a:ext>
              </a:extLst>
            </p:cNvPr>
            <p:cNvSpPr/>
            <p:nvPr/>
          </p:nvSpPr>
          <p:spPr>
            <a:xfrm>
              <a:off x="5638800" y="1600200"/>
              <a:ext cx="65533" cy="1755395"/>
            </a:xfrm>
            <a:prstGeom prst="rect">
              <a:avLst/>
            </a:prstGeom>
            <a:solidFill>
              <a:srgbClr val="B6B8B9"/>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69" name="Shape">
              <a:extLst>
                <a:ext uri="{FF2B5EF4-FFF2-40B4-BE49-F238E27FC236}">
                  <a16:creationId xmlns:a16="http://schemas.microsoft.com/office/drawing/2014/main" id="{2470FDEC-2108-4B99-9303-5393E1F706D8}"/>
                </a:ext>
              </a:extLst>
            </p:cNvPr>
            <p:cNvSpPr/>
            <p:nvPr/>
          </p:nvSpPr>
          <p:spPr>
            <a:xfrm>
              <a:off x="5372099" y="3302000"/>
              <a:ext cx="347220" cy="359284"/>
            </a:xfrm>
            <a:custGeom>
              <a:avLst/>
              <a:gdLst/>
              <a:ahLst/>
              <a:cxnLst>
                <a:cxn ang="0">
                  <a:pos x="wd2" y="hd2"/>
                </a:cxn>
                <a:cxn ang="5400000">
                  <a:pos x="wd2" y="hd2"/>
                </a:cxn>
                <a:cxn ang="10800000">
                  <a:pos x="wd2" y="hd2"/>
                </a:cxn>
                <a:cxn ang="16200000">
                  <a:pos x="wd2" y="hd2"/>
                </a:cxn>
              </a:cxnLst>
              <a:rect l="0" t="0" r="r" b="b"/>
              <a:pathLst>
                <a:path w="21592" h="21600" extrusionOk="0">
                  <a:moveTo>
                    <a:pt x="11831" y="21600"/>
                  </a:moveTo>
                  <a:lnTo>
                    <a:pt x="9761" y="21600"/>
                  </a:lnTo>
                  <a:cubicBezTo>
                    <a:pt x="4375" y="21600"/>
                    <a:pt x="0" y="17362"/>
                    <a:pt x="0" y="12163"/>
                  </a:cubicBezTo>
                  <a:cubicBezTo>
                    <a:pt x="0" y="10476"/>
                    <a:pt x="1414" y="9109"/>
                    <a:pt x="3159" y="9109"/>
                  </a:cubicBezTo>
                  <a:cubicBezTo>
                    <a:pt x="4904" y="9109"/>
                    <a:pt x="6318" y="10476"/>
                    <a:pt x="6318" y="12163"/>
                  </a:cubicBezTo>
                  <a:cubicBezTo>
                    <a:pt x="6318" y="14003"/>
                    <a:pt x="7866" y="15492"/>
                    <a:pt x="9761" y="15492"/>
                  </a:cubicBezTo>
                  <a:lnTo>
                    <a:pt x="11831" y="15492"/>
                  </a:lnTo>
                  <a:cubicBezTo>
                    <a:pt x="13734" y="15492"/>
                    <a:pt x="15274" y="13995"/>
                    <a:pt x="15274" y="12163"/>
                  </a:cubicBezTo>
                  <a:lnTo>
                    <a:pt x="15274" y="3054"/>
                  </a:lnTo>
                  <a:cubicBezTo>
                    <a:pt x="15274" y="1367"/>
                    <a:pt x="16688" y="0"/>
                    <a:pt x="18433" y="0"/>
                  </a:cubicBezTo>
                  <a:cubicBezTo>
                    <a:pt x="20178" y="0"/>
                    <a:pt x="21592" y="1367"/>
                    <a:pt x="21592" y="3054"/>
                  </a:cubicBezTo>
                  <a:lnTo>
                    <a:pt x="21592" y="12163"/>
                  </a:lnTo>
                  <a:cubicBezTo>
                    <a:pt x="21600" y="17370"/>
                    <a:pt x="17217" y="21600"/>
                    <a:pt x="11831" y="21600"/>
                  </a:cubicBezTo>
                  <a:close/>
                </a:path>
              </a:pathLst>
            </a:custGeom>
            <a:solidFill>
              <a:srgbClr val="282828"/>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70" name="Shape">
              <a:extLst>
                <a:ext uri="{FF2B5EF4-FFF2-40B4-BE49-F238E27FC236}">
                  <a16:creationId xmlns:a16="http://schemas.microsoft.com/office/drawing/2014/main" id="{4AF1F077-1381-44C4-B888-62A44EA53D76}"/>
                </a:ext>
              </a:extLst>
            </p:cNvPr>
            <p:cNvSpPr/>
            <p:nvPr/>
          </p:nvSpPr>
          <p:spPr>
            <a:xfrm>
              <a:off x="4038600" y="838199"/>
              <a:ext cx="1626617" cy="109029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1143" y="20287"/>
                    <a:pt x="3874" y="19363"/>
                    <a:pt x="7059" y="19363"/>
                  </a:cubicBezTo>
                  <a:cubicBezTo>
                    <a:pt x="10245" y="19363"/>
                    <a:pt x="12976" y="20287"/>
                    <a:pt x="14119" y="21600"/>
                  </a:cubicBezTo>
                  <a:cubicBezTo>
                    <a:pt x="15318" y="8957"/>
                    <a:pt x="18215" y="33"/>
                    <a:pt x="21600" y="0"/>
                  </a:cubicBezTo>
                  <a:cubicBezTo>
                    <a:pt x="11851" y="20"/>
                    <a:pt x="3501" y="8937"/>
                    <a:pt x="0" y="21600"/>
                  </a:cubicBezTo>
                  <a:close/>
                </a:path>
              </a:pathLst>
            </a:custGeom>
            <a:solidFill>
              <a:schemeClr val="accent6">
                <a:lumMod val="9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71" name="Shape">
              <a:extLst>
                <a:ext uri="{FF2B5EF4-FFF2-40B4-BE49-F238E27FC236}">
                  <a16:creationId xmlns:a16="http://schemas.microsoft.com/office/drawing/2014/main" id="{AE0B4AB9-1C27-411B-B021-6F570E96C317}"/>
                </a:ext>
              </a:extLst>
            </p:cNvPr>
            <p:cNvSpPr/>
            <p:nvPr/>
          </p:nvSpPr>
          <p:spPr>
            <a:xfrm>
              <a:off x="5664200" y="838199"/>
              <a:ext cx="1630173" cy="1090296"/>
            </a:xfrm>
            <a:custGeom>
              <a:avLst/>
              <a:gdLst/>
              <a:ahLst/>
              <a:cxnLst>
                <a:cxn ang="0">
                  <a:pos x="wd2" y="hd2"/>
                </a:cxn>
                <a:cxn ang="5400000">
                  <a:pos x="wd2" y="hd2"/>
                </a:cxn>
                <a:cxn ang="10800000">
                  <a:pos x="wd2" y="hd2"/>
                </a:cxn>
                <a:cxn ang="16200000">
                  <a:pos x="wd2" y="hd2"/>
                </a:cxn>
              </a:cxnLst>
              <a:rect l="0" t="0" r="r" b="b"/>
              <a:pathLst>
                <a:path w="21600" h="21600" extrusionOk="0">
                  <a:moveTo>
                    <a:pt x="10" y="0"/>
                  </a:moveTo>
                  <a:cubicBezTo>
                    <a:pt x="7" y="0"/>
                    <a:pt x="3" y="0"/>
                    <a:pt x="0" y="0"/>
                  </a:cubicBezTo>
                  <a:cubicBezTo>
                    <a:pt x="3384" y="10"/>
                    <a:pt x="6280" y="8942"/>
                    <a:pt x="7478" y="21600"/>
                  </a:cubicBezTo>
                  <a:cubicBezTo>
                    <a:pt x="8619" y="20287"/>
                    <a:pt x="11344" y="19363"/>
                    <a:pt x="14522" y="19363"/>
                  </a:cubicBezTo>
                  <a:cubicBezTo>
                    <a:pt x="17701" y="19363"/>
                    <a:pt x="20425" y="20287"/>
                    <a:pt x="21566" y="21600"/>
                  </a:cubicBezTo>
                  <a:lnTo>
                    <a:pt x="21600" y="21600"/>
                  </a:lnTo>
                  <a:cubicBezTo>
                    <a:pt x="18100" y="8924"/>
                    <a:pt x="9752" y="0"/>
                    <a:pt x="10" y="0"/>
                  </a:cubicBezTo>
                  <a:close/>
                </a:path>
              </a:pathLst>
            </a:custGeom>
            <a:solidFill>
              <a:srgbClr val="FFC000"/>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72" name="Shape">
              <a:extLst>
                <a:ext uri="{FF2B5EF4-FFF2-40B4-BE49-F238E27FC236}">
                  <a16:creationId xmlns:a16="http://schemas.microsoft.com/office/drawing/2014/main" id="{A673F393-3445-467D-8B2F-2BD5F32A639C}"/>
                </a:ext>
              </a:extLst>
            </p:cNvPr>
            <p:cNvSpPr/>
            <p:nvPr/>
          </p:nvSpPr>
          <p:spPr>
            <a:xfrm>
              <a:off x="5105400" y="838199"/>
              <a:ext cx="1129539" cy="1090296"/>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9871" y="8942"/>
                    <a:pt x="15691" y="10"/>
                    <a:pt x="10807" y="0"/>
                  </a:cubicBezTo>
                  <a:cubicBezTo>
                    <a:pt x="10795" y="0"/>
                    <a:pt x="10783" y="0"/>
                    <a:pt x="10773" y="0"/>
                  </a:cubicBezTo>
                  <a:cubicBezTo>
                    <a:pt x="5897" y="33"/>
                    <a:pt x="1724" y="8957"/>
                    <a:pt x="0" y="21600"/>
                  </a:cubicBezTo>
                  <a:cubicBezTo>
                    <a:pt x="1751" y="20287"/>
                    <a:pt x="5926" y="19363"/>
                    <a:pt x="10800" y="19363"/>
                  </a:cubicBezTo>
                  <a:cubicBezTo>
                    <a:pt x="15674" y="19363"/>
                    <a:pt x="19851" y="20287"/>
                    <a:pt x="21600" y="21600"/>
                  </a:cubicBezTo>
                  <a:close/>
                </a:path>
              </a:pathLst>
            </a:custGeom>
            <a:solidFill>
              <a:schemeClr val="accent6">
                <a:lumMod val="5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grpSp>
      <p:sp>
        <p:nvSpPr>
          <p:cNvPr id="2" name="Title 1">
            <a:extLst>
              <a:ext uri="{FF2B5EF4-FFF2-40B4-BE49-F238E27FC236}">
                <a16:creationId xmlns:a16="http://schemas.microsoft.com/office/drawing/2014/main" id="{2C2BFAE1-45D3-4B3B-81D2-0BF25FA84FB8}"/>
              </a:ext>
            </a:extLst>
          </p:cNvPr>
          <p:cNvSpPr>
            <a:spLocks noGrp="1"/>
          </p:cNvSpPr>
          <p:nvPr>
            <p:ph type="title"/>
          </p:nvPr>
        </p:nvSpPr>
        <p:spPr>
          <a:xfrm>
            <a:off x="3745235" y="528077"/>
            <a:ext cx="4689812" cy="739056"/>
          </a:xfrm>
        </p:spPr>
        <p:txBody>
          <a:bodyPr/>
          <a:lstStyle/>
          <a:p>
            <a:r>
              <a:rPr lang="en-US"/>
              <a:t>AI Ethics in Road Safety</a:t>
            </a:r>
          </a:p>
        </p:txBody>
      </p:sp>
      <p:sp>
        <p:nvSpPr>
          <p:cNvPr id="42" name="Freeform 35">
            <a:extLst>
              <a:ext uri="{FF2B5EF4-FFF2-40B4-BE49-F238E27FC236}">
                <a16:creationId xmlns:a16="http://schemas.microsoft.com/office/drawing/2014/main" id="{28878366-C996-494F-BD73-28B1026EB834}"/>
              </a:ext>
            </a:extLst>
          </p:cNvPr>
          <p:cNvSpPr>
            <a:spLocks/>
          </p:cNvSpPr>
          <p:nvPr/>
        </p:nvSpPr>
        <p:spPr bwMode="auto">
          <a:xfrm>
            <a:off x="9228822" y="1174750"/>
            <a:ext cx="185738" cy="233363"/>
          </a:xfrm>
          <a:custGeom>
            <a:avLst/>
            <a:gdLst>
              <a:gd name="T0" fmla="*/ 206 w 206"/>
              <a:gd name="T1" fmla="*/ 0 h 288"/>
              <a:gd name="T2" fmla="*/ 189 w 206"/>
              <a:gd name="T3" fmla="*/ 14 h 288"/>
              <a:gd name="T4" fmla="*/ 5 w 206"/>
              <a:gd name="T5" fmla="*/ 266 h 288"/>
              <a:gd name="T6" fmla="*/ 1 w 206"/>
              <a:gd name="T7" fmla="*/ 278 h 288"/>
              <a:gd name="T8" fmla="*/ 13 w 206"/>
              <a:gd name="T9" fmla="*/ 288 h 288"/>
              <a:gd name="T10" fmla="*/ 29 w 206"/>
              <a:gd name="T11" fmla="*/ 282 h 288"/>
              <a:gd name="T12" fmla="*/ 61 w 206"/>
              <a:gd name="T13" fmla="*/ 245 h 288"/>
              <a:gd name="T14" fmla="*/ 146 w 206"/>
              <a:gd name="T15" fmla="*/ 103 h 288"/>
              <a:gd name="T16" fmla="*/ 189 w 206"/>
              <a:gd name="T17" fmla="*/ 33 h 288"/>
              <a:gd name="T18" fmla="*/ 206 w 206"/>
              <a:gd name="T1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8">
                <a:moveTo>
                  <a:pt x="206" y="0"/>
                </a:moveTo>
                <a:cubicBezTo>
                  <a:pt x="198" y="2"/>
                  <a:pt x="194" y="7"/>
                  <a:pt x="189" y="14"/>
                </a:cubicBezTo>
                <a:cubicBezTo>
                  <a:pt x="130" y="101"/>
                  <a:pt x="59" y="176"/>
                  <a:pt x="5" y="266"/>
                </a:cubicBezTo>
                <a:cubicBezTo>
                  <a:pt x="2" y="270"/>
                  <a:pt x="0" y="274"/>
                  <a:pt x="1" y="278"/>
                </a:cubicBezTo>
                <a:cubicBezTo>
                  <a:pt x="2" y="284"/>
                  <a:pt x="8" y="288"/>
                  <a:pt x="13" y="288"/>
                </a:cubicBezTo>
                <a:cubicBezTo>
                  <a:pt x="19" y="288"/>
                  <a:pt x="24" y="285"/>
                  <a:pt x="29" y="282"/>
                </a:cubicBezTo>
                <a:cubicBezTo>
                  <a:pt x="41" y="273"/>
                  <a:pt x="54" y="258"/>
                  <a:pt x="61" y="245"/>
                </a:cubicBezTo>
                <a:cubicBezTo>
                  <a:pt x="90" y="198"/>
                  <a:pt x="118" y="151"/>
                  <a:pt x="146" y="103"/>
                </a:cubicBezTo>
                <a:lnTo>
                  <a:pt x="189" y="33"/>
                </a:lnTo>
                <a:cubicBezTo>
                  <a:pt x="195" y="22"/>
                  <a:pt x="203" y="13"/>
                  <a:pt x="20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73" name="Freeform 36">
            <a:extLst>
              <a:ext uri="{FF2B5EF4-FFF2-40B4-BE49-F238E27FC236}">
                <a16:creationId xmlns:a16="http://schemas.microsoft.com/office/drawing/2014/main" id="{AF995A55-4A55-4258-9C2D-57F82E79D46A}"/>
              </a:ext>
            </a:extLst>
          </p:cNvPr>
          <p:cNvSpPr>
            <a:spLocks/>
          </p:cNvSpPr>
          <p:nvPr/>
        </p:nvSpPr>
        <p:spPr bwMode="auto">
          <a:xfrm>
            <a:off x="6394753" y="2111209"/>
            <a:ext cx="187325" cy="234950"/>
          </a:xfrm>
          <a:custGeom>
            <a:avLst/>
            <a:gdLst>
              <a:gd name="T0" fmla="*/ 206 w 206"/>
              <a:gd name="T1" fmla="*/ 0 h 288"/>
              <a:gd name="T2" fmla="*/ 189 w 206"/>
              <a:gd name="T3" fmla="*/ 14 h 288"/>
              <a:gd name="T4" fmla="*/ 4 w 206"/>
              <a:gd name="T5" fmla="*/ 266 h 288"/>
              <a:gd name="T6" fmla="*/ 0 w 206"/>
              <a:gd name="T7" fmla="*/ 278 h 288"/>
              <a:gd name="T8" fmla="*/ 13 w 206"/>
              <a:gd name="T9" fmla="*/ 288 h 288"/>
              <a:gd name="T10" fmla="*/ 28 w 206"/>
              <a:gd name="T11" fmla="*/ 282 h 288"/>
              <a:gd name="T12" fmla="*/ 61 w 206"/>
              <a:gd name="T13" fmla="*/ 245 h 288"/>
              <a:gd name="T14" fmla="*/ 146 w 206"/>
              <a:gd name="T15" fmla="*/ 103 h 288"/>
              <a:gd name="T16" fmla="*/ 188 w 206"/>
              <a:gd name="T17" fmla="*/ 33 h 288"/>
              <a:gd name="T18" fmla="*/ 206 w 206"/>
              <a:gd name="T1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8">
                <a:moveTo>
                  <a:pt x="206" y="0"/>
                </a:moveTo>
                <a:cubicBezTo>
                  <a:pt x="198" y="2"/>
                  <a:pt x="193" y="7"/>
                  <a:pt x="189" y="14"/>
                </a:cubicBezTo>
                <a:cubicBezTo>
                  <a:pt x="130" y="100"/>
                  <a:pt x="58" y="176"/>
                  <a:pt x="4" y="266"/>
                </a:cubicBezTo>
                <a:cubicBezTo>
                  <a:pt x="2" y="269"/>
                  <a:pt x="0" y="274"/>
                  <a:pt x="0" y="278"/>
                </a:cubicBezTo>
                <a:cubicBezTo>
                  <a:pt x="1" y="284"/>
                  <a:pt x="7" y="288"/>
                  <a:pt x="13" y="288"/>
                </a:cubicBezTo>
                <a:cubicBezTo>
                  <a:pt x="19" y="288"/>
                  <a:pt x="24" y="285"/>
                  <a:pt x="28" y="282"/>
                </a:cubicBezTo>
                <a:cubicBezTo>
                  <a:pt x="40" y="273"/>
                  <a:pt x="53" y="257"/>
                  <a:pt x="61" y="245"/>
                </a:cubicBezTo>
                <a:cubicBezTo>
                  <a:pt x="89" y="198"/>
                  <a:pt x="118" y="150"/>
                  <a:pt x="146" y="103"/>
                </a:cubicBezTo>
                <a:cubicBezTo>
                  <a:pt x="160" y="80"/>
                  <a:pt x="174" y="56"/>
                  <a:pt x="188" y="33"/>
                </a:cubicBezTo>
                <a:cubicBezTo>
                  <a:pt x="195" y="22"/>
                  <a:pt x="203" y="13"/>
                  <a:pt x="206" y="0"/>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4" name="Freeform 37">
            <a:extLst>
              <a:ext uri="{FF2B5EF4-FFF2-40B4-BE49-F238E27FC236}">
                <a16:creationId xmlns:a16="http://schemas.microsoft.com/office/drawing/2014/main" id="{929DB54B-E90D-49E0-BD8F-DA3CD927AB9B}"/>
              </a:ext>
            </a:extLst>
          </p:cNvPr>
          <p:cNvSpPr>
            <a:spLocks/>
          </p:cNvSpPr>
          <p:nvPr/>
        </p:nvSpPr>
        <p:spPr bwMode="auto">
          <a:xfrm>
            <a:off x="5245785" y="1139241"/>
            <a:ext cx="185738" cy="233363"/>
          </a:xfrm>
          <a:custGeom>
            <a:avLst/>
            <a:gdLst>
              <a:gd name="T0" fmla="*/ 206 w 206"/>
              <a:gd name="T1" fmla="*/ 0 h 288"/>
              <a:gd name="T2" fmla="*/ 189 w 206"/>
              <a:gd name="T3" fmla="*/ 14 h 288"/>
              <a:gd name="T4" fmla="*/ 4 w 206"/>
              <a:gd name="T5" fmla="*/ 265 h 288"/>
              <a:gd name="T6" fmla="*/ 0 w 206"/>
              <a:gd name="T7" fmla="*/ 278 h 288"/>
              <a:gd name="T8" fmla="*/ 13 w 206"/>
              <a:gd name="T9" fmla="*/ 287 h 288"/>
              <a:gd name="T10" fmla="*/ 29 w 206"/>
              <a:gd name="T11" fmla="*/ 281 h 288"/>
              <a:gd name="T12" fmla="*/ 61 w 206"/>
              <a:gd name="T13" fmla="*/ 245 h 288"/>
              <a:gd name="T14" fmla="*/ 146 w 206"/>
              <a:gd name="T15" fmla="*/ 103 h 288"/>
              <a:gd name="T16" fmla="*/ 189 w 206"/>
              <a:gd name="T17" fmla="*/ 32 h 288"/>
              <a:gd name="T18" fmla="*/ 206 w 206"/>
              <a:gd name="T1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8">
                <a:moveTo>
                  <a:pt x="206" y="0"/>
                </a:moveTo>
                <a:cubicBezTo>
                  <a:pt x="198" y="2"/>
                  <a:pt x="193" y="7"/>
                  <a:pt x="189" y="14"/>
                </a:cubicBezTo>
                <a:cubicBezTo>
                  <a:pt x="130" y="100"/>
                  <a:pt x="58" y="176"/>
                  <a:pt x="4" y="265"/>
                </a:cubicBezTo>
                <a:cubicBezTo>
                  <a:pt x="2" y="269"/>
                  <a:pt x="0" y="274"/>
                  <a:pt x="0" y="278"/>
                </a:cubicBezTo>
                <a:cubicBezTo>
                  <a:pt x="1" y="284"/>
                  <a:pt x="7" y="287"/>
                  <a:pt x="13" y="287"/>
                </a:cubicBezTo>
                <a:cubicBezTo>
                  <a:pt x="19" y="288"/>
                  <a:pt x="24" y="285"/>
                  <a:pt x="29" y="281"/>
                </a:cubicBezTo>
                <a:cubicBezTo>
                  <a:pt x="40" y="272"/>
                  <a:pt x="53" y="257"/>
                  <a:pt x="61" y="245"/>
                </a:cubicBezTo>
                <a:cubicBezTo>
                  <a:pt x="89" y="197"/>
                  <a:pt x="118" y="150"/>
                  <a:pt x="146" y="103"/>
                </a:cubicBezTo>
                <a:lnTo>
                  <a:pt x="189" y="32"/>
                </a:lnTo>
                <a:cubicBezTo>
                  <a:pt x="195" y="21"/>
                  <a:pt x="203" y="12"/>
                  <a:pt x="206" y="0"/>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Freeform 38">
            <a:extLst>
              <a:ext uri="{FF2B5EF4-FFF2-40B4-BE49-F238E27FC236}">
                <a16:creationId xmlns:a16="http://schemas.microsoft.com/office/drawing/2014/main" id="{74593419-39D3-48AC-9606-F833A02BB071}"/>
              </a:ext>
            </a:extLst>
          </p:cNvPr>
          <p:cNvSpPr>
            <a:spLocks/>
          </p:cNvSpPr>
          <p:nvPr/>
        </p:nvSpPr>
        <p:spPr bwMode="auto">
          <a:xfrm>
            <a:off x="7382560" y="1554162"/>
            <a:ext cx="185738" cy="234950"/>
          </a:xfrm>
          <a:custGeom>
            <a:avLst/>
            <a:gdLst>
              <a:gd name="T0" fmla="*/ 206 w 206"/>
              <a:gd name="T1" fmla="*/ 0 h 288"/>
              <a:gd name="T2" fmla="*/ 189 w 206"/>
              <a:gd name="T3" fmla="*/ 14 h 288"/>
              <a:gd name="T4" fmla="*/ 5 w 206"/>
              <a:gd name="T5" fmla="*/ 266 h 288"/>
              <a:gd name="T6" fmla="*/ 1 w 206"/>
              <a:gd name="T7" fmla="*/ 279 h 288"/>
              <a:gd name="T8" fmla="*/ 13 w 206"/>
              <a:gd name="T9" fmla="*/ 288 h 288"/>
              <a:gd name="T10" fmla="*/ 29 w 206"/>
              <a:gd name="T11" fmla="*/ 282 h 288"/>
              <a:gd name="T12" fmla="*/ 62 w 206"/>
              <a:gd name="T13" fmla="*/ 245 h 288"/>
              <a:gd name="T14" fmla="*/ 147 w 206"/>
              <a:gd name="T15" fmla="*/ 104 h 288"/>
              <a:gd name="T16" fmla="*/ 189 w 206"/>
              <a:gd name="T17" fmla="*/ 33 h 288"/>
              <a:gd name="T18" fmla="*/ 206 w 206"/>
              <a:gd name="T1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8">
                <a:moveTo>
                  <a:pt x="206" y="0"/>
                </a:moveTo>
                <a:cubicBezTo>
                  <a:pt x="198" y="2"/>
                  <a:pt x="194" y="7"/>
                  <a:pt x="189" y="14"/>
                </a:cubicBezTo>
                <a:cubicBezTo>
                  <a:pt x="130" y="101"/>
                  <a:pt x="59" y="176"/>
                  <a:pt x="5" y="266"/>
                </a:cubicBezTo>
                <a:cubicBezTo>
                  <a:pt x="3" y="270"/>
                  <a:pt x="0" y="274"/>
                  <a:pt x="1" y="279"/>
                </a:cubicBezTo>
                <a:cubicBezTo>
                  <a:pt x="2" y="284"/>
                  <a:pt x="8" y="288"/>
                  <a:pt x="13" y="288"/>
                </a:cubicBezTo>
                <a:cubicBezTo>
                  <a:pt x="19" y="288"/>
                  <a:pt x="24" y="285"/>
                  <a:pt x="29" y="282"/>
                </a:cubicBezTo>
                <a:cubicBezTo>
                  <a:pt x="41" y="273"/>
                  <a:pt x="54" y="258"/>
                  <a:pt x="62" y="245"/>
                </a:cubicBezTo>
                <a:cubicBezTo>
                  <a:pt x="90" y="198"/>
                  <a:pt x="118" y="151"/>
                  <a:pt x="147" y="104"/>
                </a:cubicBezTo>
                <a:cubicBezTo>
                  <a:pt x="161" y="80"/>
                  <a:pt x="175" y="56"/>
                  <a:pt x="189" y="33"/>
                </a:cubicBezTo>
                <a:cubicBezTo>
                  <a:pt x="196" y="22"/>
                  <a:pt x="203" y="13"/>
                  <a:pt x="206" y="0"/>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Freeform 39">
            <a:extLst>
              <a:ext uri="{FF2B5EF4-FFF2-40B4-BE49-F238E27FC236}">
                <a16:creationId xmlns:a16="http://schemas.microsoft.com/office/drawing/2014/main" id="{A3E85530-DBB7-4C64-A18D-0F162B61AB64}"/>
              </a:ext>
            </a:extLst>
          </p:cNvPr>
          <p:cNvSpPr>
            <a:spLocks/>
          </p:cNvSpPr>
          <p:nvPr/>
        </p:nvSpPr>
        <p:spPr bwMode="auto">
          <a:xfrm>
            <a:off x="5042775" y="2665412"/>
            <a:ext cx="187325" cy="234950"/>
          </a:xfrm>
          <a:custGeom>
            <a:avLst/>
            <a:gdLst>
              <a:gd name="T0" fmla="*/ 206 w 206"/>
              <a:gd name="T1" fmla="*/ 0 h 288"/>
              <a:gd name="T2" fmla="*/ 189 w 206"/>
              <a:gd name="T3" fmla="*/ 14 h 288"/>
              <a:gd name="T4" fmla="*/ 5 w 206"/>
              <a:gd name="T5" fmla="*/ 265 h 288"/>
              <a:gd name="T6" fmla="*/ 1 w 206"/>
              <a:gd name="T7" fmla="*/ 278 h 288"/>
              <a:gd name="T8" fmla="*/ 14 w 206"/>
              <a:gd name="T9" fmla="*/ 287 h 288"/>
              <a:gd name="T10" fmla="*/ 29 w 206"/>
              <a:gd name="T11" fmla="*/ 281 h 288"/>
              <a:gd name="T12" fmla="*/ 62 w 206"/>
              <a:gd name="T13" fmla="*/ 245 h 288"/>
              <a:gd name="T14" fmla="*/ 147 w 206"/>
              <a:gd name="T15" fmla="*/ 103 h 288"/>
              <a:gd name="T16" fmla="*/ 189 w 206"/>
              <a:gd name="T17" fmla="*/ 32 h 288"/>
              <a:gd name="T18" fmla="*/ 206 w 206"/>
              <a:gd name="T1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8">
                <a:moveTo>
                  <a:pt x="206" y="0"/>
                </a:moveTo>
                <a:cubicBezTo>
                  <a:pt x="198" y="2"/>
                  <a:pt x="194" y="7"/>
                  <a:pt x="189" y="14"/>
                </a:cubicBezTo>
                <a:cubicBezTo>
                  <a:pt x="130" y="100"/>
                  <a:pt x="59" y="176"/>
                  <a:pt x="5" y="265"/>
                </a:cubicBezTo>
                <a:cubicBezTo>
                  <a:pt x="3" y="269"/>
                  <a:pt x="0" y="274"/>
                  <a:pt x="1" y="278"/>
                </a:cubicBezTo>
                <a:cubicBezTo>
                  <a:pt x="2" y="284"/>
                  <a:pt x="8" y="287"/>
                  <a:pt x="14" y="287"/>
                </a:cubicBezTo>
                <a:cubicBezTo>
                  <a:pt x="19" y="288"/>
                  <a:pt x="25" y="285"/>
                  <a:pt x="29" y="281"/>
                </a:cubicBezTo>
                <a:cubicBezTo>
                  <a:pt x="41" y="272"/>
                  <a:pt x="54" y="257"/>
                  <a:pt x="62" y="245"/>
                </a:cubicBezTo>
                <a:cubicBezTo>
                  <a:pt x="90" y="197"/>
                  <a:pt x="118" y="150"/>
                  <a:pt x="147" y="103"/>
                </a:cubicBezTo>
                <a:lnTo>
                  <a:pt x="189" y="32"/>
                </a:lnTo>
                <a:cubicBezTo>
                  <a:pt x="196" y="21"/>
                  <a:pt x="203" y="12"/>
                  <a:pt x="20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Freeform 40">
            <a:extLst>
              <a:ext uri="{FF2B5EF4-FFF2-40B4-BE49-F238E27FC236}">
                <a16:creationId xmlns:a16="http://schemas.microsoft.com/office/drawing/2014/main" id="{1B1A6DAE-B484-4D73-B071-FF4C04F0E293}"/>
              </a:ext>
            </a:extLst>
          </p:cNvPr>
          <p:cNvSpPr>
            <a:spLocks/>
          </p:cNvSpPr>
          <p:nvPr/>
        </p:nvSpPr>
        <p:spPr bwMode="auto">
          <a:xfrm>
            <a:off x="7273270" y="2256630"/>
            <a:ext cx="185738" cy="233363"/>
          </a:xfrm>
          <a:custGeom>
            <a:avLst/>
            <a:gdLst>
              <a:gd name="T0" fmla="*/ 206 w 206"/>
              <a:gd name="T1" fmla="*/ 0 h 288"/>
              <a:gd name="T2" fmla="*/ 189 w 206"/>
              <a:gd name="T3" fmla="*/ 14 h 288"/>
              <a:gd name="T4" fmla="*/ 5 w 206"/>
              <a:gd name="T5" fmla="*/ 265 h 288"/>
              <a:gd name="T6" fmla="*/ 1 w 206"/>
              <a:gd name="T7" fmla="*/ 278 h 288"/>
              <a:gd name="T8" fmla="*/ 14 w 206"/>
              <a:gd name="T9" fmla="*/ 288 h 288"/>
              <a:gd name="T10" fmla="*/ 29 w 206"/>
              <a:gd name="T11" fmla="*/ 281 h 288"/>
              <a:gd name="T12" fmla="*/ 62 w 206"/>
              <a:gd name="T13" fmla="*/ 245 h 288"/>
              <a:gd name="T14" fmla="*/ 147 w 206"/>
              <a:gd name="T15" fmla="*/ 103 h 288"/>
              <a:gd name="T16" fmla="*/ 189 w 206"/>
              <a:gd name="T17" fmla="*/ 32 h 288"/>
              <a:gd name="T18" fmla="*/ 206 w 206"/>
              <a:gd name="T1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8">
                <a:moveTo>
                  <a:pt x="206" y="0"/>
                </a:moveTo>
                <a:cubicBezTo>
                  <a:pt x="198" y="2"/>
                  <a:pt x="194" y="7"/>
                  <a:pt x="189" y="14"/>
                </a:cubicBezTo>
                <a:cubicBezTo>
                  <a:pt x="130" y="100"/>
                  <a:pt x="59" y="176"/>
                  <a:pt x="5" y="265"/>
                </a:cubicBezTo>
                <a:cubicBezTo>
                  <a:pt x="3" y="269"/>
                  <a:pt x="0" y="274"/>
                  <a:pt x="1" y="278"/>
                </a:cubicBezTo>
                <a:cubicBezTo>
                  <a:pt x="2" y="284"/>
                  <a:pt x="8" y="287"/>
                  <a:pt x="14" y="288"/>
                </a:cubicBezTo>
                <a:cubicBezTo>
                  <a:pt x="19" y="288"/>
                  <a:pt x="25" y="285"/>
                  <a:pt x="29" y="281"/>
                </a:cubicBezTo>
                <a:cubicBezTo>
                  <a:pt x="41" y="273"/>
                  <a:pt x="54" y="257"/>
                  <a:pt x="62" y="245"/>
                </a:cubicBezTo>
                <a:lnTo>
                  <a:pt x="147" y="103"/>
                </a:lnTo>
                <a:lnTo>
                  <a:pt x="189" y="32"/>
                </a:lnTo>
                <a:cubicBezTo>
                  <a:pt x="196" y="22"/>
                  <a:pt x="203" y="12"/>
                  <a:pt x="20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78" name="Freeform 41">
            <a:extLst>
              <a:ext uri="{FF2B5EF4-FFF2-40B4-BE49-F238E27FC236}">
                <a16:creationId xmlns:a16="http://schemas.microsoft.com/office/drawing/2014/main" id="{F56CEBBC-78AC-43C2-A540-EA6677111210}"/>
              </a:ext>
            </a:extLst>
          </p:cNvPr>
          <p:cNvSpPr>
            <a:spLocks/>
          </p:cNvSpPr>
          <p:nvPr/>
        </p:nvSpPr>
        <p:spPr bwMode="auto">
          <a:xfrm>
            <a:off x="2847072" y="2374900"/>
            <a:ext cx="185738" cy="234950"/>
          </a:xfrm>
          <a:custGeom>
            <a:avLst/>
            <a:gdLst>
              <a:gd name="T0" fmla="*/ 206 w 206"/>
              <a:gd name="T1" fmla="*/ 0 h 288"/>
              <a:gd name="T2" fmla="*/ 189 w 206"/>
              <a:gd name="T3" fmla="*/ 14 h 288"/>
              <a:gd name="T4" fmla="*/ 4 w 206"/>
              <a:gd name="T5" fmla="*/ 265 h 288"/>
              <a:gd name="T6" fmla="*/ 0 w 206"/>
              <a:gd name="T7" fmla="*/ 278 h 288"/>
              <a:gd name="T8" fmla="*/ 13 w 206"/>
              <a:gd name="T9" fmla="*/ 288 h 288"/>
              <a:gd name="T10" fmla="*/ 28 w 206"/>
              <a:gd name="T11" fmla="*/ 281 h 288"/>
              <a:gd name="T12" fmla="*/ 61 w 206"/>
              <a:gd name="T13" fmla="*/ 245 h 288"/>
              <a:gd name="T14" fmla="*/ 146 w 206"/>
              <a:gd name="T15" fmla="*/ 103 h 288"/>
              <a:gd name="T16" fmla="*/ 188 w 206"/>
              <a:gd name="T17" fmla="*/ 32 h 288"/>
              <a:gd name="T18" fmla="*/ 206 w 206"/>
              <a:gd name="T1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8">
                <a:moveTo>
                  <a:pt x="206" y="0"/>
                </a:moveTo>
                <a:cubicBezTo>
                  <a:pt x="198" y="2"/>
                  <a:pt x="193" y="7"/>
                  <a:pt x="189" y="14"/>
                </a:cubicBezTo>
                <a:cubicBezTo>
                  <a:pt x="130" y="100"/>
                  <a:pt x="58" y="176"/>
                  <a:pt x="4" y="265"/>
                </a:cubicBezTo>
                <a:cubicBezTo>
                  <a:pt x="2" y="269"/>
                  <a:pt x="0" y="274"/>
                  <a:pt x="0" y="278"/>
                </a:cubicBezTo>
                <a:cubicBezTo>
                  <a:pt x="1" y="284"/>
                  <a:pt x="7" y="287"/>
                  <a:pt x="13" y="288"/>
                </a:cubicBezTo>
                <a:cubicBezTo>
                  <a:pt x="19" y="288"/>
                  <a:pt x="24" y="285"/>
                  <a:pt x="28" y="281"/>
                </a:cubicBezTo>
                <a:cubicBezTo>
                  <a:pt x="40" y="272"/>
                  <a:pt x="53" y="257"/>
                  <a:pt x="61" y="245"/>
                </a:cubicBezTo>
                <a:cubicBezTo>
                  <a:pt x="89" y="197"/>
                  <a:pt x="118" y="150"/>
                  <a:pt x="146" y="103"/>
                </a:cubicBezTo>
                <a:cubicBezTo>
                  <a:pt x="160" y="80"/>
                  <a:pt x="174" y="56"/>
                  <a:pt x="188" y="32"/>
                </a:cubicBezTo>
                <a:cubicBezTo>
                  <a:pt x="195" y="21"/>
                  <a:pt x="203" y="12"/>
                  <a:pt x="206" y="0"/>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9" name="Freeform 42">
            <a:extLst>
              <a:ext uri="{FF2B5EF4-FFF2-40B4-BE49-F238E27FC236}">
                <a16:creationId xmlns:a16="http://schemas.microsoft.com/office/drawing/2014/main" id="{C0C8CE7E-E541-48F7-8541-6D9D47D22D9B}"/>
              </a:ext>
            </a:extLst>
          </p:cNvPr>
          <p:cNvSpPr>
            <a:spLocks/>
          </p:cNvSpPr>
          <p:nvPr/>
        </p:nvSpPr>
        <p:spPr bwMode="auto">
          <a:xfrm>
            <a:off x="755727" y="2229854"/>
            <a:ext cx="185738" cy="234950"/>
          </a:xfrm>
          <a:custGeom>
            <a:avLst/>
            <a:gdLst>
              <a:gd name="T0" fmla="*/ 206 w 206"/>
              <a:gd name="T1" fmla="*/ 0 h 288"/>
              <a:gd name="T2" fmla="*/ 189 w 206"/>
              <a:gd name="T3" fmla="*/ 14 h 288"/>
              <a:gd name="T4" fmla="*/ 5 w 206"/>
              <a:gd name="T5" fmla="*/ 265 h 288"/>
              <a:gd name="T6" fmla="*/ 1 w 206"/>
              <a:gd name="T7" fmla="*/ 278 h 288"/>
              <a:gd name="T8" fmla="*/ 13 w 206"/>
              <a:gd name="T9" fmla="*/ 288 h 288"/>
              <a:gd name="T10" fmla="*/ 29 w 206"/>
              <a:gd name="T11" fmla="*/ 281 h 288"/>
              <a:gd name="T12" fmla="*/ 61 w 206"/>
              <a:gd name="T13" fmla="*/ 245 h 288"/>
              <a:gd name="T14" fmla="*/ 146 w 206"/>
              <a:gd name="T15" fmla="*/ 103 h 288"/>
              <a:gd name="T16" fmla="*/ 189 w 206"/>
              <a:gd name="T17" fmla="*/ 32 h 288"/>
              <a:gd name="T18" fmla="*/ 206 w 206"/>
              <a:gd name="T1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8">
                <a:moveTo>
                  <a:pt x="206" y="0"/>
                </a:moveTo>
                <a:cubicBezTo>
                  <a:pt x="198" y="2"/>
                  <a:pt x="194" y="7"/>
                  <a:pt x="189" y="14"/>
                </a:cubicBezTo>
                <a:cubicBezTo>
                  <a:pt x="130" y="100"/>
                  <a:pt x="59" y="176"/>
                  <a:pt x="5" y="265"/>
                </a:cubicBezTo>
                <a:cubicBezTo>
                  <a:pt x="2" y="269"/>
                  <a:pt x="0" y="274"/>
                  <a:pt x="1" y="278"/>
                </a:cubicBezTo>
                <a:cubicBezTo>
                  <a:pt x="2" y="284"/>
                  <a:pt x="8" y="287"/>
                  <a:pt x="13" y="288"/>
                </a:cubicBezTo>
                <a:cubicBezTo>
                  <a:pt x="19" y="288"/>
                  <a:pt x="24" y="285"/>
                  <a:pt x="29" y="281"/>
                </a:cubicBezTo>
                <a:cubicBezTo>
                  <a:pt x="41" y="273"/>
                  <a:pt x="54" y="257"/>
                  <a:pt x="61" y="245"/>
                </a:cubicBezTo>
                <a:cubicBezTo>
                  <a:pt x="90" y="197"/>
                  <a:pt x="118" y="150"/>
                  <a:pt x="146" y="103"/>
                </a:cubicBezTo>
                <a:lnTo>
                  <a:pt x="189" y="32"/>
                </a:lnTo>
                <a:cubicBezTo>
                  <a:pt x="195" y="22"/>
                  <a:pt x="203" y="12"/>
                  <a:pt x="20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80" name="Freeform 43">
            <a:extLst>
              <a:ext uri="{FF2B5EF4-FFF2-40B4-BE49-F238E27FC236}">
                <a16:creationId xmlns:a16="http://schemas.microsoft.com/office/drawing/2014/main" id="{A11AAC64-0957-4A3B-AB45-2CE8C8F7B9BC}"/>
              </a:ext>
            </a:extLst>
          </p:cNvPr>
          <p:cNvSpPr>
            <a:spLocks/>
          </p:cNvSpPr>
          <p:nvPr/>
        </p:nvSpPr>
        <p:spPr bwMode="auto">
          <a:xfrm>
            <a:off x="9224060" y="1973262"/>
            <a:ext cx="185738" cy="233363"/>
          </a:xfrm>
          <a:custGeom>
            <a:avLst/>
            <a:gdLst>
              <a:gd name="T0" fmla="*/ 206 w 206"/>
              <a:gd name="T1" fmla="*/ 0 h 287"/>
              <a:gd name="T2" fmla="*/ 188 w 206"/>
              <a:gd name="T3" fmla="*/ 13 h 287"/>
              <a:gd name="T4" fmla="*/ 4 w 206"/>
              <a:gd name="T5" fmla="*/ 265 h 287"/>
              <a:gd name="T6" fmla="*/ 0 w 206"/>
              <a:gd name="T7" fmla="*/ 278 h 287"/>
              <a:gd name="T8" fmla="*/ 13 w 206"/>
              <a:gd name="T9" fmla="*/ 287 h 287"/>
              <a:gd name="T10" fmla="*/ 28 w 206"/>
              <a:gd name="T11" fmla="*/ 281 h 287"/>
              <a:gd name="T12" fmla="*/ 61 w 206"/>
              <a:gd name="T13" fmla="*/ 244 h 287"/>
              <a:gd name="T14" fmla="*/ 146 w 206"/>
              <a:gd name="T15" fmla="*/ 103 h 287"/>
              <a:gd name="T16" fmla="*/ 188 w 206"/>
              <a:gd name="T17" fmla="*/ 32 h 287"/>
              <a:gd name="T18" fmla="*/ 206 w 206"/>
              <a:gd name="T19"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7">
                <a:moveTo>
                  <a:pt x="206" y="0"/>
                </a:moveTo>
                <a:cubicBezTo>
                  <a:pt x="198" y="1"/>
                  <a:pt x="193" y="6"/>
                  <a:pt x="188" y="13"/>
                </a:cubicBezTo>
                <a:cubicBezTo>
                  <a:pt x="130" y="100"/>
                  <a:pt x="58" y="175"/>
                  <a:pt x="4" y="265"/>
                </a:cubicBezTo>
                <a:cubicBezTo>
                  <a:pt x="2" y="269"/>
                  <a:pt x="0" y="273"/>
                  <a:pt x="0" y="278"/>
                </a:cubicBezTo>
                <a:cubicBezTo>
                  <a:pt x="1" y="283"/>
                  <a:pt x="7" y="287"/>
                  <a:pt x="13" y="287"/>
                </a:cubicBezTo>
                <a:cubicBezTo>
                  <a:pt x="18" y="287"/>
                  <a:pt x="24" y="284"/>
                  <a:pt x="28" y="281"/>
                </a:cubicBezTo>
                <a:cubicBezTo>
                  <a:pt x="40" y="272"/>
                  <a:pt x="53" y="257"/>
                  <a:pt x="61" y="244"/>
                </a:cubicBezTo>
                <a:cubicBezTo>
                  <a:pt x="89" y="197"/>
                  <a:pt x="118" y="150"/>
                  <a:pt x="146" y="103"/>
                </a:cubicBezTo>
                <a:cubicBezTo>
                  <a:pt x="160" y="79"/>
                  <a:pt x="174" y="55"/>
                  <a:pt x="188" y="32"/>
                </a:cubicBezTo>
                <a:cubicBezTo>
                  <a:pt x="195" y="21"/>
                  <a:pt x="203" y="12"/>
                  <a:pt x="206" y="0"/>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44">
            <a:extLst>
              <a:ext uri="{FF2B5EF4-FFF2-40B4-BE49-F238E27FC236}">
                <a16:creationId xmlns:a16="http://schemas.microsoft.com/office/drawing/2014/main" id="{391A9430-F712-4F4C-9878-1FFEC82A4D1E}"/>
              </a:ext>
            </a:extLst>
          </p:cNvPr>
          <p:cNvSpPr>
            <a:spLocks/>
          </p:cNvSpPr>
          <p:nvPr/>
        </p:nvSpPr>
        <p:spPr bwMode="auto">
          <a:xfrm>
            <a:off x="6999975" y="1012869"/>
            <a:ext cx="187325" cy="233363"/>
          </a:xfrm>
          <a:custGeom>
            <a:avLst/>
            <a:gdLst>
              <a:gd name="T0" fmla="*/ 206 w 206"/>
              <a:gd name="T1" fmla="*/ 0 h 288"/>
              <a:gd name="T2" fmla="*/ 189 w 206"/>
              <a:gd name="T3" fmla="*/ 14 h 288"/>
              <a:gd name="T4" fmla="*/ 5 w 206"/>
              <a:gd name="T5" fmla="*/ 265 h 288"/>
              <a:gd name="T6" fmla="*/ 1 w 206"/>
              <a:gd name="T7" fmla="*/ 278 h 288"/>
              <a:gd name="T8" fmla="*/ 14 w 206"/>
              <a:gd name="T9" fmla="*/ 287 h 288"/>
              <a:gd name="T10" fmla="*/ 29 w 206"/>
              <a:gd name="T11" fmla="*/ 281 h 288"/>
              <a:gd name="T12" fmla="*/ 62 w 206"/>
              <a:gd name="T13" fmla="*/ 245 h 288"/>
              <a:gd name="T14" fmla="*/ 147 w 206"/>
              <a:gd name="T15" fmla="*/ 103 h 288"/>
              <a:gd name="T16" fmla="*/ 189 w 206"/>
              <a:gd name="T17" fmla="*/ 32 h 288"/>
              <a:gd name="T18" fmla="*/ 206 w 206"/>
              <a:gd name="T1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8">
                <a:moveTo>
                  <a:pt x="206" y="0"/>
                </a:moveTo>
                <a:cubicBezTo>
                  <a:pt x="198" y="2"/>
                  <a:pt x="194" y="7"/>
                  <a:pt x="189" y="14"/>
                </a:cubicBezTo>
                <a:cubicBezTo>
                  <a:pt x="130" y="100"/>
                  <a:pt x="59" y="176"/>
                  <a:pt x="5" y="265"/>
                </a:cubicBezTo>
                <a:cubicBezTo>
                  <a:pt x="3" y="269"/>
                  <a:pt x="0" y="274"/>
                  <a:pt x="1" y="278"/>
                </a:cubicBezTo>
                <a:cubicBezTo>
                  <a:pt x="2" y="284"/>
                  <a:pt x="8" y="287"/>
                  <a:pt x="14" y="287"/>
                </a:cubicBezTo>
                <a:cubicBezTo>
                  <a:pt x="19" y="288"/>
                  <a:pt x="25" y="285"/>
                  <a:pt x="29" y="281"/>
                </a:cubicBezTo>
                <a:cubicBezTo>
                  <a:pt x="41" y="272"/>
                  <a:pt x="54" y="257"/>
                  <a:pt x="62" y="245"/>
                </a:cubicBezTo>
                <a:cubicBezTo>
                  <a:pt x="90" y="197"/>
                  <a:pt x="118" y="150"/>
                  <a:pt x="147" y="103"/>
                </a:cubicBezTo>
                <a:cubicBezTo>
                  <a:pt x="161" y="79"/>
                  <a:pt x="175" y="56"/>
                  <a:pt x="189" y="32"/>
                </a:cubicBezTo>
                <a:cubicBezTo>
                  <a:pt x="196" y="21"/>
                  <a:pt x="203" y="12"/>
                  <a:pt x="20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82" name="Freeform 45">
            <a:extLst>
              <a:ext uri="{FF2B5EF4-FFF2-40B4-BE49-F238E27FC236}">
                <a16:creationId xmlns:a16="http://schemas.microsoft.com/office/drawing/2014/main" id="{8B032690-EEEC-4FB6-A3E7-026DD675E49A}"/>
              </a:ext>
            </a:extLst>
          </p:cNvPr>
          <p:cNvSpPr>
            <a:spLocks/>
          </p:cNvSpPr>
          <p:nvPr/>
        </p:nvSpPr>
        <p:spPr bwMode="auto">
          <a:xfrm>
            <a:off x="2095577" y="2009191"/>
            <a:ext cx="185738" cy="233363"/>
          </a:xfrm>
          <a:custGeom>
            <a:avLst/>
            <a:gdLst>
              <a:gd name="T0" fmla="*/ 206 w 206"/>
              <a:gd name="T1" fmla="*/ 0 h 288"/>
              <a:gd name="T2" fmla="*/ 189 w 206"/>
              <a:gd name="T3" fmla="*/ 14 h 288"/>
              <a:gd name="T4" fmla="*/ 5 w 206"/>
              <a:gd name="T5" fmla="*/ 266 h 288"/>
              <a:gd name="T6" fmla="*/ 1 w 206"/>
              <a:gd name="T7" fmla="*/ 279 h 288"/>
              <a:gd name="T8" fmla="*/ 14 w 206"/>
              <a:gd name="T9" fmla="*/ 288 h 288"/>
              <a:gd name="T10" fmla="*/ 29 w 206"/>
              <a:gd name="T11" fmla="*/ 282 h 288"/>
              <a:gd name="T12" fmla="*/ 62 w 206"/>
              <a:gd name="T13" fmla="*/ 245 h 288"/>
              <a:gd name="T14" fmla="*/ 147 w 206"/>
              <a:gd name="T15" fmla="*/ 104 h 288"/>
              <a:gd name="T16" fmla="*/ 189 w 206"/>
              <a:gd name="T17" fmla="*/ 33 h 288"/>
              <a:gd name="T18" fmla="*/ 206 w 206"/>
              <a:gd name="T1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8">
                <a:moveTo>
                  <a:pt x="206" y="0"/>
                </a:moveTo>
                <a:cubicBezTo>
                  <a:pt x="198" y="2"/>
                  <a:pt x="194" y="7"/>
                  <a:pt x="189" y="14"/>
                </a:cubicBezTo>
                <a:cubicBezTo>
                  <a:pt x="130" y="101"/>
                  <a:pt x="59" y="176"/>
                  <a:pt x="5" y="266"/>
                </a:cubicBezTo>
                <a:cubicBezTo>
                  <a:pt x="3" y="270"/>
                  <a:pt x="0" y="274"/>
                  <a:pt x="1" y="279"/>
                </a:cubicBezTo>
                <a:cubicBezTo>
                  <a:pt x="2" y="284"/>
                  <a:pt x="8" y="288"/>
                  <a:pt x="14" y="288"/>
                </a:cubicBezTo>
                <a:cubicBezTo>
                  <a:pt x="19" y="288"/>
                  <a:pt x="25" y="285"/>
                  <a:pt x="29" y="282"/>
                </a:cubicBezTo>
                <a:cubicBezTo>
                  <a:pt x="41" y="273"/>
                  <a:pt x="54" y="258"/>
                  <a:pt x="62" y="245"/>
                </a:cubicBezTo>
                <a:cubicBezTo>
                  <a:pt x="90" y="198"/>
                  <a:pt x="118" y="151"/>
                  <a:pt x="147" y="104"/>
                </a:cubicBezTo>
                <a:lnTo>
                  <a:pt x="189" y="33"/>
                </a:lnTo>
                <a:cubicBezTo>
                  <a:pt x="196" y="22"/>
                  <a:pt x="203" y="13"/>
                  <a:pt x="20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83" name="Freeform 46">
            <a:extLst>
              <a:ext uri="{FF2B5EF4-FFF2-40B4-BE49-F238E27FC236}">
                <a16:creationId xmlns:a16="http://schemas.microsoft.com/office/drawing/2014/main" id="{F596C642-A506-40CE-930E-4DDE890CE89A}"/>
              </a:ext>
            </a:extLst>
          </p:cNvPr>
          <p:cNvSpPr>
            <a:spLocks/>
          </p:cNvSpPr>
          <p:nvPr/>
        </p:nvSpPr>
        <p:spPr bwMode="auto">
          <a:xfrm>
            <a:off x="8636685" y="919162"/>
            <a:ext cx="185738" cy="233363"/>
          </a:xfrm>
          <a:custGeom>
            <a:avLst/>
            <a:gdLst>
              <a:gd name="T0" fmla="*/ 206 w 206"/>
              <a:gd name="T1" fmla="*/ 0 h 287"/>
              <a:gd name="T2" fmla="*/ 188 w 206"/>
              <a:gd name="T3" fmla="*/ 13 h 287"/>
              <a:gd name="T4" fmla="*/ 4 w 206"/>
              <a:gd name="T5" fmla="*/ 265 h 287"/>
              <a:gd name="T6" fmla="*/ 0 w 206"/>
              <a:gd name="T7" fmla="*/ 278 h 287"/>
              <a:gd name="T8" fmla="*/ 13 w 206"/>
              <a:gd name="T9" fmla="*/ 287 h 287"/>
              <a:gd name="T10" fmla="*/ 28 w 206"/>
              <a:gd name="T11" fmla="*/ 281 h 287"/>
              <a:gd name="T12" fmla="*/ 61 w 206"/>
              <a:gd name="T13" fmla="*/ 244 h 287"/>
              <a:gd name="T14" fmla="*/ 146 w 206"/>
              <a:gd name="T15" fmla="*/ 103 h 287"/>
              <a:gd name="T16" fmla="*/ 188 w 206"/>
              <a:gd name="T17" fmla="*/ 32 h 287"/>
              <a:gd name="T18" fmla="*/ 206 w 206"/>
              <a:gd name="T19"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7">
                <a:moveTo>
                  <a:pt x="206" y="0"/>
                </a:moveTo>
                <a:cubicBezTo>
                  <a:pt x="198" y="2"/>
                  <a:pt x="193" y="7"/>
                  <a:pt x="188" y="13"/>
                </a:cubicBezTo>
                <a:cubicBezTo>
                  <a:pt x="130" y="100"/>
                  <a:pt x="58" y="175"/>
                  <a:pt x="4" y="265"/>
                </a:cubicBezTo>
                <a:cubicBezTo>
                  <a:pt x="2" y="269"/>
                  <a:pt x="0" y="273"/>
                  <a:pt x="0" y="278"/>
                </a:cubicBezTo>
                <a:cubicBezTo>
                  <a:pt x="1" y="283"/>
                  <a:pt x="7" y="287"/>
                  <a:pt x="13" y="287"/>
                </a:cubicBezTo>
                <a:cubicBezTo>
                  <a:pt x="18" y="287"/>
                  <a:pt x="24" y="284"/>
                  <a:pt x="28" y="281"/>
                </a:cubicBezTo>
                <a:cubicBezTo>
                  <a:pt x="40" y="272"/>
                  <a:pt x="53" y="257"/>
                  <a:pt x="61" y="244"/>
                </a:cubicBezTo>
                <a:cubicBezTo>
                  <a:pt x="89" y="197"/>
                  <a:pt x="118" y="150"/>
                  <a:pt x="146" y="103"/>
                </a:cubicBezTo>
                <a:cubicBezTo>
                  <a:pt x="160" y="79"/>
                  <a:pt x="174" y="56"/>
                  <a:pt x="188" y="32"/>
                </a:cubicBezTo>
                <a:cubicBezTo>
                  <a:pt x="195" y="21"/>
                  <a:pt x="203" y="12"/>
                  <a:pt x="206" y="0"/>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4" name="Freeform 47">
            <a:extLst>
              <a:ext uri="{FF2B5EF4-FFF2-40B4-BE49-F238E27FC236}">
                <a16:creationId xmlns:a16="http://schemas.microsoft.com/office/drawing/2014/main" id="{7B6172BD-0927-4A67-90FB-91A58EDF2FE1}"/>
              </a:ext>
            </a:extLst>
          </p:cNvPr>
          <p:cNvSpPr>
            <a:spLocks/>
          </p:cNvSpPr>
          <p:nvPr/>
        </p:nvSpPr>
        <p:spPr bwMode="auto">
          <a:xfrm>
            <a:off x="3510907" y="2504206"/>
            <a:ext cx="187325" cy="233363"/>
          </a:xfrm>
          <a:custGeom>
            <a:avLst/>
            <a:gdLst>
              <a:gd name="T0" fmla="*/ 206 w 206"/>
              <a:gd name="T1" fmla="*/ 0 h 288"/>
              <a:gd name="T2" fmla="*/ 189 w 206"/>
              <a:gd name="T3" fmla="*/ 14 h 288"/>
              <a:gd name="T4" fmla="*/ 5 w 206"/>
              <a:gd name="T5" fmla="*/ 265 h 288"/>
              <a:gd name="T6" fmla="*/ 1 w 206"/>
              <a:gd name="T7" fmla="*/ 278 h 288"/>
              <a:gd name="T8" fmla="*/ 13 w 206"/>
              <a:gd name="T9" fmla="*/ 288 h 288"/>
              <a:gd name="T10" fmla="*/ 29 w 206"/>
              <a:gd name="T11" fmla="*/ 281 h 288"/>
              <a:gd name="T12" fmla="*/ 61 w 206"/>
              <a:gd name="T13" fmla="*/ 245 h 288"/>
              <a:gd name="T14" fmla="*/ 146 w 206"/>
              <a:gd name="T15" fmla="*/ 103 h 288"/>
              <a:gd name="T16" fmla="*/ 189 w 206"/>
              <a:gd name="T17" fmla="*/ 32 h 288"/>
              <a:gd name="T18" fmla="*/ 206 w 206"/>
              <a:gd name="T1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8">
                <a:moveTo>
                  <a:pt x="206" y="0"/>
                </a:moveTo>
                <a:cubicBezTo>
                  <a:pt x="198" y="2"/>
                  <a:pt x="193" y="7"/>
                  <a:pt x="189" y="14"/>
                </a:cubicBezTo>
                <a:cubicBezTo>
                  <a:pt x="130" y="100"/>
                  <a:pt x="59" y="176"/>
                  <a:pt x="5" y="265"/>
                </a:cubicBezTo>
                <a:cubicBezTo>
                  <a:pt x="2" y="269"/>
                  <a:pt x="0" y="274"/>
                  <a:pt x="1" y="278"/>
                </a:cubicBezTo>
                <a:cubicBezTo>
                  <a:pt x="1" y="284"/>
                  <a:pt x="7" y="287"/>
                  <a:pt x="13" y="288"/>
                </a:cubicBezTo>
                <a:cubicBezTo>
                  <a:pt x="19" y="288"/>
                  <a:pt x="24" y="285"/>
                  <a:pt x="29" y="281"/>
                </a:cubicBezTo>
                <a:cubicBezTo>
                  <a:pt x="41" y="273"/>
                  <a:pt x="54" y="257"/>
                  <a:pt x="61" y="245"/>
                </a:cubicBezTo>
                <a:cubicBezTo>
                  <a:pt x="90" y="197"/>
                  <a:pt x="118" y="150"/>
                  <a:pt x="146" y="103"/>
                </a:cubicBezTo>
                <a:lnTo>
                  <a:pt x="189" y="32"/>
                </a:lnTo>
                <a:cubicBezTo>
                  <a:pt x="195" y="22"/>
                  <a:pt x="203" y="12"/>
                  <a:pt x="20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85" name="Freeform 48">
            <a:extLst>
              <a:ext uri="{FF2B5EF4-FFF2-40B4-BE49-F238E27FC236}">
                <a16:creationId xmlns:a16="http://schemas.microsoft.com/office/drawing/2014/main" id="{605C0A98-E984-4F63-A44F-3DA27545BA45}"/>
              </a:ext>
            </a:extLst>
          </p:cNvPr>
          <p:cNvSpPr>
            <a:spLocks/>
          </p:cNvSpPr>
          <p:nvPr/>
        </p:nvSpPr>
        <p:spPr bwMode="auto">
          <a:xfrm>
            <a:off x="4028172" y="939800"/>
            <a:ext cx="187325" cy="234950"/>
          </a:xfrm>
          <a:custGeom>
            <a:avLst/>
            <a:gdLst>
              <a:gd name="T0" fmla="*/ 206 w 206"/>
              <a:gd name="T1" fmla="*/ 0 h 287"/>
              <a:gd name="T2" fmla="*/ 189 w 206"/>
              <a:gd name="T3" fmla="*/ 13 h 287"/>
              <a:gd name="T4" fmla="*/ 5 w 206"/>
              <a:gd name="T5" fmla="*/ 265 h 287"/>
              <a:gd name="T6" fmla="*/ 1 w 206"/>
              <a:gd name="T7" fmla="*/ 278 h 287"/>
              <a:gd name="T8" fmla="*/ 13 w 206"/>
              <a:gd name="T9" fmla="*/ 287 h 287"/>
              <a:gd name="T10" fmla="*/ 29 w 206"/>
              <a:gd name="T11" fmla="*/ 281 h 287"/>
              <a:gd name="T12" fmla="*/ 62 w 206"/>
              <a:gd name="T13" fmla="*/ 244 h 287"/>
              <a:gd name="T14" fmla="*/ 147 w 206"/>
              <a:gd name="T15" fmla="*/ 103 h 287"/>
              <a:gd name="T16" fmla="*/ 189 w 206"/>
              <a:gd name="T17" fmla="*/ 32 h 287"/>
              <a:gd name="T18" fmla="*/ 206 w 206"/>
              <a:gd name="T19"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7">
                <a:moveTo>
                  <a:pt x="206" y="0"/>
                </a:moveTo>
                <a:cubicBezTo>
                  <a:pt x="198" y="2"/>
                  <a:pt x="194" y="7"/>
                  <a:pt x="189" y="13"/>
                </a:cubicBezTo>
                <a:cubicBezTo>
                  <a:pt x="130" y="100"/>
                  <a:pt x="59" y="175"/>
                  <a:pt x="5" y="265"/>
                </a:cubicBezTo>
                <a:cubicBezTo>
                  <a:pt x="3" y="269"/>
                  <a:pt x="0" y="273"/>
                  <a:pt x="1" y="278"/>
                </a:cubicBezTo>
                <a:cubicBezTo>
                  <a:pt x="2" y="283"/>
                  <a:pt x="8" y="287"/>
                  <a:pt x="13" y="287"/>
                </a:cubicBezTo>
                <a:cubicBezTo>
                  <a:pt x="19" y="287"/>
                  <a:pt x="25" y="284"/>
                  <a:pt x="29" y="281"/>
                </a:cubicBezTo>
                <a:cubicBezTo>
                  <a:pt x="41" y="272"/>
                  <a:pt x="54" y="257"/>
                  <a:pt x="62" y="244"/>
                </a:cubicBezTo>
                <a:cubicBezTo>
                  <a:pt x="90" y="197"/>
                  <a:pt x="118" y="150"/>
                  <a:pt x="147" y="103"/>
                </a:cubicBezTo>
                <a:lnTo>
                  <a:pt x="189" y="32"/>
                </a:lnTo>
                <a:cubicBezTo>
                  <a:pt x="196" y="21"/>
                  <a:pt x="203" y="12"/>
                  <a:pt x="20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86" name="Freeform 49">
            <a:extLst>
              <a:ext uri="{FF2B5EF4-FFF2-40B4-BE49-F238E27FC236}">
                <a16:creationId xmlns:a16="http://schemas.microsoft.com/office/drawing/2014/main" id="{E485A949-CD86-4543-8D97-71BC80FC4306}"/>
              </a:ext>
            </a:extLst>
          </p:cNvPr>
          <p:cNvSpPr>
            <a:spLocks/>
          </p:cNvSpPr>
          <p:nvPr/>
        </p:nvSpPr>
        <p:spPr bwMode="auto">
          <a:xfrm>
            <a:off x="10630433" y="1204912"/>
            <a:ext cx="185738" cy="234950"/>
          </a:xfrm>
          <a:custGeom>
            <a:avLst/>
            <a:gdLst>
              <a:gd name="T0" fmla="*/ 206 w 206"/>
              <a:gd name="T1" fmla="*/ 0 h 287"/>
              <a:gd name="T2" fmla="*/ 189 w 206"/>
              <a:gd name="T3" fmla="*/ 13 h 287"/>
              <a:gd name="T4" fmla="*/ 5 w 206"/>
              <a:gd name="T5" fmla="*/ 265 h 287"/>
              <a:gd name="T6" fmla="*/ 1 w 206"/>
              <a:gd name="T7" fmla="*/ 278 h 287"/>
              <a:gd name="T8" fmla="*/ 14 w 206"/>
              <a:gd name="T9" fmla="*/ 287 h 287"/>
              <a:gd name="T10" fmla="*/ 29 w 206"/>
              <a:gd name="T11" fmla="*/ 281 h 287"/>
              <a:gd name="T12" fmla="*/ 62 w 206"/>
              <a:gd name="T13" fmla="*/ 244 h 287"/>
              <a:gd name="T14" fmla="*/ 147 w 206"/>
              <a:gd name="T15" fmla="*/ 103 h 287"/>
              <a:gd name="T16" fmla="*/ 189 w 206"/>
              <a:gd name="T17" fmla="*/ 32 h 287"/>
              <a:gd name="T18" fmla="*/ 206 w 206"/>
              <a:gd name="T19"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7">
                <a:moveTo>
                  <a:pt x="206" y="0"/>
                </a:moveTo>
                <a:cubicBezTo>
                  <a:pt x="198" y="2"/>
                  <a:pt x="194" y="7"/>
                  <a:pt x="189" y="13"/>
                </a:cubicBezTo>
                <a:cubicBezTo>
                  <a:pt x="130" y="100"/>
                  <a:pt x="59" y="175"/>
                  <a:pt x="5" y="265"/>
                </a:cubicBezTo>
                <a:cubicBezTo>
                  <a:pt x="3" y="269"/>
                  <a:pt x="0" y="273"/>
                  <a:pt x="1" y="278"/>
                </a:cubicBezTo>
                <a:cubicBezTo>
                  <a:pt x="2" y="283"/>
                  <a:pt x="8" y="287"/>
                  <a:pt x="14" y="287"/>
                </a:cubicBezTo>
                <a:cubicBezTo>
                  <a:pt x="19" y="287"/>
                  <a:pt x="25" y="284"/>
                  <a:pt x="29" y="281"/>
                </a:cubicBezTo>
                <a:cubicBezTo>
                  <a:pt x="41" y="272"/>
                  <a:pt x="54" y="257"/>
                  <a:pt x="62" y="244"/>
                </a:cubicBezTo>
                <a:cubicBezTo>
                  <a:pt x="90" y="197"/>
                  <a:pt x="118" y="150"/>
                  <a:pt x="147" y="103"/>
                </a:cubicBezTo>
                <a:cubicBezTo>
                  <a:pt x="161" y="79"/>
                  <a:pt x="175" y="56"/>
                  <a:pt x="189" y="32"/>
                </a:cubicBezTo>
                <a:cubicBezTo>
                  <a:pt x="196" y="21"/>
                  <a:pt x="203" y="12"/>
                  <a:pt x="20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87" name="Freeform 50">
            <a:extLst>
              <a:ext uri="{FF2B5EF4-FFF2-40B4-BE49-F238E27FC236}">
                <a16:creationId xmlns:a16="http://schemas.microsoft.com/office/drawing/2014/main" id="{5520C0D5-BDFF-49BF-96F8-389475DBEC10}"/>
              </a:ext>
            </a:extLst>
          </p:cNvPr>
          <p:cNvSpPr>
            <a:spLocks/>
          </p:cNvSpPr>
          <p:nvPr/>
        </p:nvSpPr>
        <p:spPr bwMode="auto">
          <a:xfrm>
            <a:off x="11025720" y="1738312"/>
            <a:ext cx="187325" cy="234950"/>
          </a:xfrm>
          <a:custGeom>
            <a:avLst/>
            <a:gdLst>
              <a:gd name="T0" fmla="*/ 206 w 206"/>
              <a:gd name="T1" fmla="*/ 0 h 288"/>
              <a:gd name="T2" fmla="*/ 189 w 206"/>
              <a:gd name="T3" fmla="*/ 14 h 288"/>
              <a:gd name="T4" fmla="*/ 5 w 206"/>
              <a:gd name="T5" fmla="*/ 266 h 288"/>
              <a:gd name="T6" fmla="*/ 1 w 206"/>
              <a:gd name="T7" fmla="*/ 278 h 288"/>
              <a:gd name="T8" fmla="*/ 14 w 206"/>
              <a:gd name="T9" fmla="*/ 288 h 288"/>
              <a:gd name="T10" fmla="*/ 29 w 206"/>
              <a:gd name="T11" fmla="*/ 282 h 288"/>
              <a:gd name="T12" fmla="*/ 62 w 206"/>
              <a:gd name="T13" fmla="*/ 245 h 288"/>
              <a:gd name="T14" fmla="*/ 147 w 206"/>
              <a:gd name="T15" fmla="*/ 103 h 288"/>
              <a:gd name="T16" fmla="*/ 189 w 206"/>
              <a:gd name="T17" fmla="*/ 33 h 288"/>
              <a:gd name="T18" fmla="*/ 206 w 206"/>
              <a:gd name="T1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8">
                <a:moveTo>
                  <a:pt x="206" y="0"/>
                </a:moveTo>
                <a:cubicBezTo>
                  <a:pt x="198" y="2"/>
                  <a:pt x="194" y="7"/>
                  <a:pt x="189" y="14"/>
                </a:cubicBezTo>
                <a:cubicBezTo>
                  <a:pt x="130" y="101"/>
                  <a:pt x="59" y="176"/>
                  <a:pt x="5" y="266"/>
                </a:cubicBezTo>
                <a:cubicBezTo>
                  <a:pt x="3" y="269"/>
                  <a:pt x="0" y="274"/>
                  <a:pt x="1" y="278"/>
                </a:cubicBezTo>
                <a:cubicBezTo>
                  <a:pt x="2" y="284"/>
                  <a:pt x="8" y="288"/>
                  <a:pt x="14" y="288"/>
                </a:cubicBezTo>
                <a:cubicBezTo>
                  <a:pt x="19" y="288"/>
                  <a:pt x="25" y="285"/>
                  <a:pt x="29" y="282"/>
                </a:cubicBezTo>
                <a:cubicBezTo>
                  <a:pt x="41" y="273"/>
                  <a:pt x="54" y="257"/>
                  <a:pt x="62" y="245"/>
                </a:cubicBezTo>
                <a:cubicBezTo>
                  <a:pt x="90" y="198"/>
                  <a:pt x="118" y="151"/>
                  <a:pt x="147" y="103"/>
                </a:cubicBezTo>
                <a:cubicBezTo>
                  <a:pt x="161" y="80"/>
                  <a:pt x="175" y="56"/>
                  <a:pt x="189" y="33"/>
                </a:cubicBezTo>
                <a:cubicBezTo>
                  <a:pt x="196" y="22"/>
                  <a:pt x="203" y="13"/>
                  <a:pt x="206" y="0"/>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8" name="Freeform 51">
            <a:extLst>
              <a:ext uri="{FF2B5EF4-FFF2-40B4-BE49-F238E27FC236}">
                <a16:creationId xmlns:a16="http://schemas.microsoft.com/office/drawing/2014/main" id="{901B4776-08EB-4455-8A1A-AB66D5478F98}"/>
              </a:ext>
            </a:extLst>
          </p:cNvPr>
          <p:cNvSpPr>
            <a:spLocks/>
          </p:cNvSpPr>
          <p:nvPr/>
        </p:nvSpPr>
        <p:spPr bwMode="auto">
          <a:xfrm>
            <a:off x="911590" y="1294230"/>
            <a:ext cx="187325" cy="234950"/>
          </a:xfrm>
          <a:custGeom>
            <a:avLst/>
            <a:gdLst>
              <a:gd name="T0" fmla="*/ 206 w 206"/>
              <a:gd name="T1" fmla="*/ 0 h 288"/>
              <a:gd name="T2" fmla="*/ 189 w 206"/>
              <a:gd name="T3" fmla="*/ 14 h 288"/>
              <a:gd name="T4" fmla="*/ 4 w 206"/>
              <a:gd name="T5" fmla="*/ 266 h 288"/>
              <a:gd name="T6" fmla="*/ 0 w 206"/>
              <a:gd name="T7" fmla="*/ 278 h 288"/>
              <a:gd name="T8" fmla="*/ 13 w 206"/>
              <a:gd name="T9" fmla="*/ 288 h 288"/>
              <a:gd name="T10" fmla="*/ 29 w 206"/>
              <a:gd name="T11" fmla="*/ 282 h 288"/>
              <a:gd name="T12" fmla="*/ 61 w 206"/>
              <a:gd name="T13" fmla="*/ 245 h 288"/>
              <a:gd name="T14" fmla="*/ 146 w 206"/>
              <a:gd name="T15" fmla="*/ 103 h 288"/>
              <a:gd name="T16" fmla="*/ 189 w 206"/>
              <a:gd name="T17" fmla="*/ 33 h 288"/>
              <a:gd name="T18" fmla="*/ 206 w 206"/>
              <a:gd name="T1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8">
                <a:moveTo>
                  <a:pt x="206" y="0"/>
                </a:moveTo>
                <a:cubicBezTo>
                  <a:pt x="198" y="2"/>
                  <a:pt x="193" y="7"/>
                  <a:pt x="189" y="14"/>
                </a:cubicBezTo>
                <a:cubicBezTo>
                  <a:pt x="130" y="101"/>
                  <a:pt x="58" y="176"/>
                  <a:pt x="4" y="266"/>
                </a:cubicBezTo>
                <a:cubicBezTo>
                  <a:pt x="2" y="270"/>
                  <a:pt x="0" y="274"/>
                  <a:pt x="0" y="278"/>
                </a:cubicBezTo>
                <a:cubicBezTo>
                  <a:pt x="1" y="284"/>
                  <a:pt x="7" y="288"/>
                  <a:pt x="13" y="288"/>
                </a:cubicBezTo>
                <a:cubicBezTo>
                  <a:pt x="19" y="288"/>
                  <a:pt x="24" y="285"/>
                  <a:pt x="29" y="282"/>
                </a:cubicBezTo>
                <a:cubicBezTo>
                  <a:pt x="40" y="273"/>
                  <a:pt x="54" y="258"/>
                  <a:pt x="61" y="245"/>
                </a:cubicBezTo>
                <a:cubicBezTo>
                  <a:pt x="89" y="198"/>
                  <a:pt x="118" y="151"/>
                  <a:pt x="146" y="103"/>
                </a:cubicBezTo>
                <a:cubicBezTo>
                  <a:pt x="160" y="80"/>
                  <a:pt x="174" y="56"/>
                  <a:pt x="189" y="33"/>
                </a:cubicBezTo>
                <a:cubicBezTo>
                  <a:pt x="195" y="22"/>
                  <a:pt x="203" y="13"/>
                  <a:pt x="206" y="0"/>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9" name="Freeform 52">
            <a:extLst>
              <a:ext uri="{FF2B5EF4-FFF2-40B4-BE49-F238E27FC236}">
                <a16:creationId xmlns:a16="http://schemas.microsoft.com/office/drawing/2014/main" id="{EE3612AE-7003-452A-895F-F23D55FECB17}"/>
              </a:ext>
            </a:extLst>
          </p:cNvPr>
          <p:cNvSpPr>
            <a:spLocks/>
          </p:cNvSpPr>
          <p:nvPr/>
        </p:nvSpPr>
        <p:spPr bwMode="auto">
          <a:xfrm>
            <a:off x="4824541" y="2010987"/>
            <a:ext cx="185738" cy="233363"/>
          </a:xfrm>
          <a:custGeom>
            <a:avLst/>
            <a:gdLst>
              <a:gd name="T0" fmla="*/ 206 w 206"/>
              <a:gd name="T1" fmla="*/ 0 h 287"/>
              <a:gd name="T2" fmla="*/ 189 w 206"/>
              <a:gd name="T3" fmla="*/ 13 h 287"/>
              <a:gd name="T4" fmla="*/ 4 w 206"/>
              <a:gd name="T5" fmla="*/ 265 h 287"/>
              <a:gd name="T6" fmla="*/ 0 w 206"/>
              <a:gd name="T7" fmla="*/ 278 h 287"/>
              <a:gd name="T8" fmla="*/ 13 w 206"/>
              <a:gd name="T9" fmla="*/ 287 h 287"/>
              <a:gd name="T10" fmla="*/ 29 w 206"/>
              <a:gd name="T11" fmla="*/ 281 h 287"/>
              <a:gd name="T12" fmla="*/ 61 w 206"/>
              <a:gd name="T13" fmla="*/ 244 h 287"/>
              <a:gd name="T14" fmla="*/ 146 w 206"/>
              <a:gd name="T15" fmla="*/ 103 h 287"/>
              <a:gd name="T16" fmla="*/ 189 w 206"/>
              <a:gd name="T17" fmla="*/ 32 h 287"/>
              <a:gd name="T18" fmla="*/ 206 w 206"/>
              <a:gd name="T19"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7">
                <a:moveTo>
                  <a:pt x="206" y="0"/>
                </a:moveTo>
                <a:cubicBezTo>
                  <a:pt x="198" y="1"/>
                  <a:pt x="193" y="6"/>
                  <a:pt x="189" y="13"/>
                </a:cubicBezTo>
                <a:cubicBezTo>
                  <a:pt x="130" y="100"/>
                  <a:pt x="58" y="175"/>
                  <a:pt x="4" y="265"/>
                </a:cubicBezTo>
                <a:cubicBezTo>
                  <a:pt x="2" y="269"/>
                  <a:pt x="0" y="273"/>
                  <a:pt x="0" y="278"/>
                </a:cubicBezTo>
                <a:cubicBezTo>
                  <a:pt x="1" y="283"/>
                  <a:pt x="7" y="287"/>
                  <a:pt x="13" y="287"/>
                </a:cubicBezTo>
                <a:cubicBezTo>
                  <a:pt x="19" y="287"/>
                  <a:pt x="24" y="284"/>
                  <a:pt x="29" y="281"/>
                </a:cubicBezTo>
                <a:cubicBezTo>
                  <a:pt x="40" y="272"/>
                  <a:pt x="53" y="257"/>
                  <a:pt x="61" y="244"/>
                </a:cubicBezTo>
                <a:cubicBezTo>
                  <a:pt x="89" y="197"/>
                  <a:pt x="118" y="150"/>
                  <a:pt x="146" y="103"/>
                </a:cubicBezTo>
                <a:lnTo>
                  <a:pt x="189" y="32"/>
                </a:lnTo>
                <a:cubicBezTo>
                  <a:pt x="195" y="21"/>
                  <a:pt x="203" y="12"/>
                  <a:pt x="20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53">
            <a:extLst>
              <a:ext uri="{FF2B5EF4-FFF2-40B4-BE49-F238E27FC236}">
                <a16:creationId xmlns:a16="http://schemas.microsoft.com/office/drawing/2014/main" id="{13945B37-BB52-4EB3-A228-035B80EBD468}"/>
              </a:ext>
            </a:extLst>
          </p:cNvPr>
          <p:cNvSpPr>
            <a:spLocks/>
          </p:cNvSpPr>
          <p:nvPr/>
        </p:nvSpPr>
        <p:spPr bwMode="auto">
          <a:xfrm>
            <a:off x="2632760" y="1174750"/>
            <a:ext cx="185738" cy="233363"/>
          </a:xfrm>
          <a:custGeom>
            <a:avLst/>
            <a:gdLst>
              <a:gd name="T0" fmla="*/ 206 w 206"/>
              <a:gd name="T1" fmla="*/ 0 h 288"/>
              <a:gd name="T2" fmla="*/ 189 w 206"/>
              <a:gd name="T3" fmla="*/ 14 h 288"/>
              <a:gd name="T4" fmla="*/ 5 w 206"/>
              <a:gd name="T5" fmla="*/ 266 h 288"/>
              <a:gd name="T6" fmla="*/ 1 w 206"/>
              <a:gd name="T7" fmla="*/ 278 h 288"/>
              <a:gd name="T8" fmla="*/ 14 w 206"/>
              <a:gd name="T9" fmla="*/ 288 h 288"/>
              <a:gd name="T10" fmla="*/ 29 w 206"/>
              <a:gd name="T11" fmla="*/ 282 h 288"/>
              <a:gd name="T12" fmla="*/ 62 w 206"/>
              <a:gd name="T13" fmla="*/ 245 h 288"/>
              <a:gd name="T14" fmla="*/ 147 w 206"/>
              <a:gd name="T15" fmla="*/ 103 h 288"/>
              <a:gd name="T16" fmla="*/ 189 w 206"/>
              <a:gd name="T17" fmla="*/ 33 h 288"/>
              <a:gd name="T18" fmla="*/ 206 w 206"/>
              <a:gd name="T1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8">
                <a:moveTo>
                  <a:pt x="206" y="0"/>
                </a:moveTo>
                <a:cubicBezTo>
                  <a:pt x="198" y="2"/>
                  <a:pt x="194" y="7"/>
                  <a:pt x="189" y="14"/>
                </a:cubicBezTo>
                <a:cubicBezTo>
                  <a:pt x="130" y="101"/>
                  <a:pt x="59" y="176"/>
                  <a:pt x="5" y="266"/>
                </a:cubicBezTo>
                <a:cubicBezTo>
                  <a:pt x="3" y="270"/>
                  <a:pt x="0" y="274"/>
                  <a:pt x="1" y="278"/>
                </a:cubicBezTo>
                <a:cubicBezTo>
                  <a:pt x="2" y="284"/>
                  <a:pt x="8" y="288"/>
                  <a:pt x="14" y="288"/>
                </a:cubicBezTo>
                <a:cubicBezTo>
                  <a:pt x="19" y="288"/>
                  <a:pt x="25" y="285"/>
                  <a:pt x="29" y="282"/>
                </a:cubicBezTo>
                <a:cubicBezTo>
                  <a:pt x="41" y="273"/>
                  <a:pt x="54" y="258"/>
                  <a:pt x="62" y="245"/>
                </a:cubicBezTo>
                <a:cubicBezTo>
                  <a:pt x="90" y="198"/>
                  <a:pt x="118" y="151"/>
                  <a:pt x="147" y="103"/>
                </a:cubicBezTo>
                <a:lnTo>
                  <a:pt x="189" y="33"/>
                </a:lnTo>
                <a:cubicBezTo>
                  <a:pt x="196" y="22"/>
                  <a:pt x="203" y="13"/>
                  <a:pt x="206" y="0"/>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Freeform 54">
            <a:extLst>
              <a:ext uri="{FF2B5EF4-FFF2-40B4-BE49-F238E27FC236}">
                <a16:creationId xmlns:a16="http://schemas.microsoft.com/office/drawing/2014/main" id="{C2933ECE-774B-4EE0-A6A0-3FAEC5433BE1}"/>
              </a:ext>
            </a:extLst>
          </p:cNvPr>
          <p:cNvSpPr>
            <a:spLocks/>
          </p:cNvSpPr>
          <p:nvPr/>
        </p:nvSpPr>
        <p:spPr bwMode="auto">
          <a:xfrm>
            <a:off x="8311247" y="2259012"/>
            <a:ext cx="185738" cy="233363"/>
          </a:xfrm>
          <a:custGeom>
            <a:avLst/>
            <a:gdLst>
              <a:gd name="T0" fmla="*/ 206 w 206"/>
              <a:gd name="T1" fmla="*/ 0 h 288"/>
              <a:gd name="T2" fmla="*/ 189 w 206"/>
              <a:gd name="T3" fmla="*/ 14 h 288"/>
              <a:gd name="T4" fmla="*/ 5 w 206"/>
              <a:gd name="T5" fmla="*/ 266 h 288"/>
              <a:gd name="T6" fmla="*/ 1 w 206"/>
              <a:gd name="T7" fmla="*/ 278 h 288"/>
              <a:gd name="T8" fmla="*/ 14 w 206"/>
              <a:gd name="T9" fmla="*/ 288 h 288"/>
              <a:gd name="T10" fmla="*/ 29 w 206"/>
              <a:gd name="T11" fmla="*/ 282 h 288"/>
              <a:gd name="T12" fmla="*/ 62 w 206"/>
              <a:gd name="T13" fmla="*/ 245 h 288"/>
              <a:gd name="T14" fmla="*/ 147 w 206"/>
              <a:gd name="T15" fmla="*/ 103 h 288"/>
              <a:gd name="T16" fmla="*/ 189 w 206"/>
              <a:gd name="T17" fmla="*/ 33 h 288"/>
              <a:gd name="T18" fmla="*/ 206 w 206"/>
              <a:gd name="T1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8">
                <a:moveTo>
                  <a:pt x="206" y="0"/>
                </a:moveTo>
                <a:cubicBezTo>
                  <a:pt x="198" y="2"/>
                  <a:pt x="194" y="7"/>
                  <a:pt x="189" y="14"/>
                </a:cubicBezTo>
                <a:cubicBezTo>
                  <a:pt x="130" y="100"/>
                  <a:pt x="59" y="176"/>
                  <a:pt x="5" y="266"/>
                </a:cubicBezTo>
                <a:cubicBezTo>
                  <a:pt x="3" y="269"/>
                  <a:pt x="0" y="274"/>
                  <a:pt x="1" y="278"/>
                </a:cubicBezTo>
                <a:cubicBezTo>
                  <a:pt x="2" y="284"/>
                  <a:pt x="8" y="288"/>
                  <a:pt x="14" y="288"/>
                </a:cubicBezTo>
                <a:cubicBezTo>
                  <a:pt x="19" y="288"/>
                  <a:pt x="25" y="285"/>
                  <a:pt x="29" y="282"/>
                </a:cubicBezTo>
                <a:cubicBezTo>
                  <a:pt x="41" y="273"/>
                  <a:pt x="54" y="257"/>
                  <a:pt x="62" y="245"/>
                </a:cubicBezTo>
                <a:cubicBezTo>
                  <a:pt x="90" y="198"/>
                  <a:pt x="118" y="150"/>
                  <a:pt x="147" y="103"/>
                </a:cubicBezTo>
                <a:cubicBezTo>
                  <a:pt x="161" y="80"/>
                  <a:pt x="175" y="56"/>
                  <a:pt x="189" y="33"/>
                </a:cubicBezTo>
                <a:cubicBezTo>
                  <a:pt x="196" y="22"/>
                  <a:pt x="203" y="13"/>
                  <a:pt x="20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55">
            <a:extLst>
              <a:ext uri="{FF2B5EF4-FFF2-40B4-BE49-F238E27FC236}">
                <a16:creationId xmlns:a16="http://schemas.microsoft.com/office/drawing/2014/main" id="{31682FB6-A270-40EB-A25C-02B6EC4EEFE1}"/>
              </a:ext>
            </a:extLst>
          </p:cNvPr>
          <p:cNvSpPr>
            <a:spLocks/>
          </p:cNvSpPr>
          <p:nvPr/>
        </p:nvSpPr>
        <p:spPr bwMode="auto">
          <a:xfrm>
            <a:off x="4005947" y="1741487"/>
            <a:ext cx="185738" cy="233363"/>
          </a:xfrm>
          <a:custGeom>
            <a:avLst/>
            <a:gdLst>
              <a:gd name="T0" fmla="*/ 206 w 206"/>
              <a:gd name="T1" fmla="*/ 0 h 287"/>
              <a:gd name="T2" fmla="*/ 189 w 206"/>
              <a:gd name="T3" fmla="*/ 13 h 287"/>
              <a:gd name="T4" fmla="*/ 5 w 206"/>
              <a:gd name="T5" fmla="*/ 265 h 287"/>
              <a:gd name="T6" fmla="*/ 1 w 206"/>
              <a:gd name="T7" fmla="*/ 278 h 287"/>
              <a:gd name="T8" fmla="*/ 13 w 206"/>
              <a:gd name="T9" fmla="*/ 287 h 287"/>
              <a:gd name="T10" fmla="*/ 29 w 206"/>
              <a:gd name="T11" fmla="*/ 281 h 287"/>
              <a:gd name="T12" fmla="*/ 61 w 206"/>
              <a:gd name="T13" fmla="*/ 244 h 287"/>
              <a:gd name="T14" fmla="*/ 146 w 206"/>
              <a:gd name="T15" fmla="*/ 103 h 287"/>
              <a:gd name="T16" fmla="*/ 189 w 206"/>
              <a:gd name="T17" fmla="*/ 32 h 287"/>
              <a:gd name="T18" fmla="*/ 206 w 206"/>
              <a:gd name="T19"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7">
                <a:moveTo>
                  <a:pt x="206" y="0"/>
                </a:moveTo>
                <a:cubicBezTo>
                  <a:pt x="198" y="2"/>
                  <a:pt x="193" y="7"/>
                  <a:pt x="189" y="13"/>
                </a:cubicBezTo>
                <a:cubicBezTo>
                  <a:pt x="130" y="100"/>
                  <a:pt x="59" y="175"/>
                  <a:pt x="5" y="265"/>
                </a:cubicBezTo>
                <a:cubicBezTo>
                  <a:pt x="2" y="269"/>
                  <a:pt x="0" y="273"/>
                  <a:pt x="1" y="278"/>
                </a:cubicBezTo>
                <a:cubicBezTo>
                  <a:pt x="1" y="283"/>
                  <a:pt x="7" y="287"/>
                  <a:pt x="13" y="287"/>
                </a:cubicBezTo>
                <a:cubicBezTo>
                  <a:pt x="19" y="287"/>
                  <a:pt x="24" y="284"/>
                  <a:pt x="29" y="281"/>
                </a:cubicBezTo>
                <a:cubicBezTo>
                  <a:pt x="41" y="272"/>
                  <a:pt x="54" y="257"/>
                  <a:pt x="61" y="244"/>
                </a:cubicBezTo>
                <a:cubicBezTo>
                  <a:pt x="90" y="197"/>
                  <a:pt x="118" y="150"/>
                  <a:pt x="146" y="103"/>
                </a:cubicBezTo>
                <a:cubicBezTo>
                  <a:pt x="160" y="79"/>
                  <a:pt x="175" y="56"/>
                  <a:pt x="189" y="32"/>
                </a:cubicBezTo>
                <a:cubicBezTo>
                  <a:pt x="195" y="21"/>
                  <a:pt x="203" y="12"/>
                  <a:pt x="20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93" name="Freeform 56">
            <a:extLst>
              <a:ext uri="{FF2B5EF4-FFF2-40B4-BE49-F238E27FC236}">
                <a16:creationId xmlns:a16="http://schemas.microsoft.com/office/drawing/2014/main" id="{709F4D46-C860-4FB3-BF5C-7E92A579CCFC}"/>
              </a:ext>
            </a:extLst>
          </p:cNvPr>
          <p:cNvSpPr>
            <a:spLocks/>
          </p:cNvSpPr>
          <p:nvPr/>
        </p:nvSpPr>
        <p:spPr bwMode="auto">
          <a:xfrm>
            <a:off x="5528012" y="1506418"/>
            <a:ext cx="185738" cy="233363"/>
          </a:xfrm>
          <a:custGeom>
            <a:avLst/>
            <a:gdLst>
              <a:gd name="T0" fmla="*/ 206 w 206"/>
              <a:gd name="T1" fmla="*/ 0 h 287"/>
              <a:gd name="T2" fmla="*/ 189 w 206"/>
              <a:gd name="T3" fmla="*/ 13 h 287"/>
              <a:gd name="T4" fmla="*/ 5 w 206"/>
              <a:gd name="T5" fmla="*/ 265 h 287"/>
              <a:gd name="T6" fmla="*/ 1 w 206"/>
              <a:gd name="T7" fmla="*/ 278 h 287"/>
              <a:gd name="T8" fmla="*/ 13 w 206"/>
              <a:gd name="T9" fmla="*/ 287 h 287"/>
              <a:gd name="T10" fmla="*/ 29 w 206"/>
              <a:gd name="T11" fmla="*/ 281 h 287"/>
              <a:gd name="T12" fmla="*/ 62 w 206"/>
              <a:gd name="T13" fmla="*/ 244 h 287"/>
              <a:gd name="T14" fmla="*/ 146 w 206"/>
              <a:gd name="T15" fmla="*/ 103 h 287"/>
              <a:gd name="T16" fmla="*/ 189 w 206"/>
              <a:gd name="T17" fmla="*/ 32 h 287"/>
              <a:gd name="T18" fmla="*/ 206 w 206"/>
              <a:gd name="T19"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7">
                <a:moveTo>
                  <a:pt x="206" y="0"/>
                </a:moveTo>
                <a:cubicBezTo>
                  <a:pt x="198" y="1"/>
                  <a:pt x="194" y="6"/>
                  <a:pt x="189" y="13"/>
                </a:cubicBezTo>
                <a:cubicBezTo>
                  <a:pt x="130" y="100"/>
                  <a:pt x="59" y="175"/>
                  <a:pt x="5" y="265"/>
                </a:cubicBezTo>
                <a:cubicBezTo>
                  <a:pt x="2" y="269"/>
                  <a:pt x="0" y="273"/>
                  <a:pt x="1" y="278"/>
                </a:cubicBezTo>
                <a:cubicBezTo>
                  <a:pt x="2" y="283"/>
                  <a:pt x="8" y="287"/>
                  <a:pt x="13" y="287"/>
                </a:cubicBezTo>
                <a:cubicBezTo>
                  <a:pt x="19" y="287"/>
                  <a:pt x="24" y="284"/>
                  <a:pt x="29" y="281"/>
                </a:cubicBezTo>
                <a:cubicBezTo>
                  <a:pt x="41" y="272"/>
                  <a:pt x="54" y="257"/>
                  <a:pt x="62" y="244"/>
                </a:cubicBezTo>
                <a:cubicBezTo>
                  <a:pt x="90" y="197"/>
                  <a:pt x="118" y="150"/>
                  <a:pt x="146" y="103"/>
                </a:cubicBezTo>
                <a:lnTo>
                  <a:pt x="189" y="32"/>
                </a:lnTo>
                <a:cubicBezTo>
                  <a:pt x="195" y="21"/>
                  <a:pt x="203" y="12"/>
                  <a:pt x="20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Freeform 43">
            <a:extLst>
              <a:ext uri="{FF2B5EF4-FFF2-40B4-BE49-F238E27FC236}">
                <a16:creationId xmlns:a16="http://schemas.microsoft.com/office/drawing/2014/main" id="{10F2D635-036A-4F06-BFE1-F42F06803EBB}"/>
              </a:ext>
            </a:extLst>
          </p:cNvPr>
          <p:cNvSpPr>
            <a:spLocks/>
          </p:cNvSpPr>
          <p:nvPr/>
        </p:nvSpPr>
        <p:spPr bwMode="auto">
          <a:xfrm>
            <a:off x="5702717" y="2244350"/>
            <a:ext cx="185738" cy="233363"/>
          </a:xfrm>
          <a:custGeom>
            <a:avLst/>
            <a:gdLst>
              <a:gd name="T0" fmla="*/ 206 w 206"/>
              <a:gd name="T1" fmla="*/ 0 h 287"/>
              <a:gd name="T2" fmla="*/ 188 w 206"/>
              <a:gd name="T3" fmla="*/ 13 h 287"/>
              <a:gd name="T4" fmla="*/ 4 w 206"/>
              <a:gd name="T5" fmla="*/ 265 h 287"/>
              <a:gd name="T6" fmla="*/ 0 w 206"/>
              <a:gd name="T7" fmla="*/ 278 h 287"/>
              <a:gd name="T8" fmla="*/ 13 w 206"/>
              <a:gd name="T9" fmla="*/ 287 h 287"/>
              <a:gd name="T10" fmla="*/ 28 w 206"/>
              <a:gd name="T11" fmla="*/ 281 h 287"/>
              <a:gd name="T12" fmla="*/ 61 w 206"/>
              <a:gd name="T13" fmla="*/ 244 h 287"/>
              <a:gd name="T14" fmla="*/ 146 w 206"/>
              <a:gd name="T15" fmla="*/ 103 h 287"/>
              <a:gd name="T16" fmla="*/ 188 w 206"/>
              <a:gd name="T17" fmla="*/ 32 h 287"/>
              <a:gd name="T18" fmla="*/ 206 w 206"/>
              <a:gd name="T19"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7">
                <a:moveTo>
                  <a:pt x="206" y="0"/>
                </a:moveTo>
                <a:cubicBezTo>
                  <a:pt x="198" y="1"/>
                  <a:pt x="193" y="6"/>
                  <a:pt x="188" y="13"/>
                </a:cubicBezTo>
                <a:cubicBezTo>
                  <a:pt x="130" y="100"/>
                  <a:pt x="58" y="175"/>
                  <a:pt x="4" y="265"/>
                </a:cubicBezTo>
                <a:cubicBezTo>
                  <a:pt x="2" y="269"/>
                  <a:pt x="0" y="273"/>
                  <a:pt x="0" y="278"/>
                </a:cubicBezTo>
                <a:cubicBezTo>
                  <a:pt x="1" y="283"/>
                  <a:pt x="7" y="287"/>
                  <a:pt x="13" y="287"/>
                </a:cubicBezTo>
                <a:cubicBezTo>
                  <a:pt x="18" y="287"/>
                  <a:pt x="24" y="284"/>
                  <a:pt x="28" y="281"/>
                </a:cubicBezTo>
                <a:cubicBezTo>
                  <a:pt x="40" y="272"/>
                  <a:pt x="53" y="257"/>
                  <a:pt x="61" y="244"/>
                </a:cubicBezTo>
                <a:cubicBezTo>
                  <a:pt x="89" y="197"/>
                  <a:pt x="118" y="150"/>
                  <a:pt x="146" y="103"/>
                </a:cubicBezTo>
                <a:cubicBezTo>
                  <a:pt x="160" y="79"/>
                  <a:pt x="174" y="55"/>
                  <a:pt x="188" y="32"/>
                </a:cubicBezTo>
                <a:cubicBezTo>
                  <a:pt x="195" y="21"/>
                  <a:pt x="203" y="12"/>
                  <a:pt x="20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Shape 105">
            <a:extLst>
              <a:ext uri="{FF2B5EF4-FFF2-40B4-BE49-F238E27FC236}">
                <a16:creationId xmlns:a16="http://schemas.microsoft.com/office/drawing/2014/main" id="{B9A956C0-2C50-48BB-955A-248142140F3A}"/>
              </a:ext>
            </a:extLst>
          </p:cNvPr>
          <p:cNvSpPr/>
          <p:nvPr/>
        </p:nvSpPr>
        <p:spPr>
          <a:xfrm>
            <a:off x="3673520" y="3216321"/>
            <a:ext cx="45719" cy="422229"/>
          </a:xfrm>
          <a:custGeom>
            <a:avLst/>
            <a:gdLst>
              <a:gd name="connsiteX0" fmla="*/ 135589 w 324412"/>
              <a:gd name="connsiteY0" fmla="*/ 0 h 2996034"/>
              <a:gd name="connsiteX1" fmla="*/ 173988 w 324412"/>
              <a:gd name="connsiteY1" fmla="*/ 304583 h 2996034"/>
              <a:gd name="connsiteX2" fmla="*/ 220695 w 324412"/>
              <a:gd name="connsiteY2" fmla="*/ 1010438 h 2996034"/>
              <a:gd name="connsiteX3" fmla="*/ 321397 w 324412"/>
              <a:gd name="connsiteY3" fmla="*/ 2416455 h 2996034"/>
              <a:gd name="connsiteX4" fmla="*/ 270759 w 324412"/>
              <a:gd name="connsiteY4" fmla="*/ 2832395 h 2996034"/>
              <a:gd name="connsiteX5" fmla="*/ 189649 w 324412"/>
              <a:gd name="connsiteY5" fmla="*/ 2968926 h 2996034"/>
              <a:gd name="connsiteX6" fmla="*/ 51471 w 324412"/>
              <a:gd name="connsiteY6" fmla="*/ 2972285 h 2996034"/>
              <a:gd name="connsiteX7" fmla="*/ 14689 w 324412"/>
              <a:gd name="connsiteY7" fmla="*/ 2865091 h 2996034"/>
              <a:gd name="connsiteX8" fmla="*/ 82694 w 324412"/>
              <a:gd name="connsiteY8" fmla="*/ 187684 h 2996034"/>
              <a:gd name="connsiteX9" fmla="*/ 135589 w 324412"/>
              <a:gd name="connsiteY9" fmla="*/ 0 h 299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4412" h="2996034">
                <a:moveTo>
                  <a:pt x="135589" y="0"/>
                </a:moveTo>
                <a:cubicBezTo>
                  <a:pt x="174587" y="95009"/>
                  <a:pt x="166999" y="205488"/>
                  <a:pt x="173988" y="304583"/>
                </a:cubicBezTo>
                <a:lnTo>
                  <a:pt x="220695" y="1010438"/>
                </a:lnTo>
                <a:cubicBezTo>
                  <a:pt x="255001" y="1475048"/>
                  <a:pt x="289307" y="1939658"/>
                  <a:pt x="321397" y="2416455"/>
                </a:cubicBezTo>
                <a:cubicBezTo>
                  <a:pt x="331242" y="2534231"/>
                  <a:pt x="317644" y="2712136"/>
                  <a:pt x="270759" y="2832395"/>
                </a:cubicBezTo>
                <a:cubicBezTo>
                  <a:pt x="254605" y="2886832"/>
                  <a:pt x="233379" y="2934775"/>
                  <a:pt x="189649" y="2968926"/>
                </a:cubicBezTo>
                <a:cubicBezTo>
                  <a:pt x="140848" y="2996583"/>
                  <a:pt x="81902" y="3011252"/>
                  <a:pt x="51471" y="2972285"/>
                </a:cubicBezTo>
                <a:cubicBezTo>
                  <a:pt x="23895" y="2952000"/>
                  <a:pt x="13112" y="2908144"/>
                  <a:pt x="14689" y="2865091"/>
                </a:cubicBezTo>
                <a:cubicBezTo>
                  <a:pt x="-43140" y="1979726"/>
                  <a:pt x="88866" y="1082025"/>
                  <a:pt x="82694" y="187684"/>
                </a:cubicBezTo>
                <a:cubicBezTo>
                  <a:pt x="76344" y="119456"/>
                  <a:pt x="87426" y="58524"/>
                  <a:pt x="135589"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Freeform: Shape 106">
            <a:extLst>
              <a:ext uri="{FF2B5EF4-FFF2-40B4-BE49-F238E27FC236}">
                <a16:creationId xmlns:a16="http://schemas.microsoft.com/office/drawing/2014/main" id="{706A3E6F-382A-4934-A179-9F82CFB6A748}"/>
              </a:ext>
            </a:extLst>
          </p:cNvPr>
          <p:cNvSpPr/>
          <p:nvPr/>
        </p:nvSpPr>
        <p:spPr>
          <a:xfrm>
            <a:off x="4856858" y="3734079"/>
            <a:ext cx="45719" cy="422229"/>
          </a:xfrm>
          <a:custGeom>
            <a:avLst/>
            <a:gdLst>
              <a:gd name="connsiteX0" fmla="*/ 135589 w 324412"/>
              <a:gd name="connsiteY0" fmla="*/ 0 h 2996034"/>
              <a:gd name="connsiteX1" fmla="*/ 173988 w 324412"/>
              <a:gd name="connsiteY1" fmla="*/ 304583 h 2996034"/>
              <a:gd name="connsiteX2" fmla="*/ 220695 w 324412"/>
              <a:gd name="connsiteY2" fmla="*/ 1010438 h 2996034"/>
              <a:gd name="connsiteX3" fmla="*/ 321397 w 324412"/>
              <a:gd name="connsiteY3" fmla="*/ 2416455 h 2996034"/>
              <a:gd name="connsiteX4" fmla="*/ 270759 w 324412"/>
              <a:gd name="connsiteY4" fmla="*/ 2832395 h 2996034"/>
              <a:gd name="connsiteX5" fmla="*/ 189649 w 324412"/>
              <a:gd name="connsiteY5" fmla="*/ 2968926 h 2996034"/>
              <a:gd name="connsiteX6" fmla="*/ 51471 w 324412"/>
              <a:gd name="connsiteY6" fmla="*/ 2972285 h 2996034"/>
              <a:gd name="connsiteX7" fmla="*/ 14689 w 324412"/>
              <a:gd name="connsiteY7" fmla="*/ 2865091 h 2996034"/>
              <a:gd name="connsiteX8" fmla="*/ 82694 w 324412"/>
              <a:gd name="connsiteY8" fmla="*/ 187684 h 2996034"/>
              <a:gd name="connsiteX9" fmla="*/ 135589 w 324412"/>
              <a:gd name="connsiteY9" fmla="*/ 0 h 299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4412" h="2996034">
                <a:moveTo>
                  <a:pt x="135589" y="0"/>
                </a:moveTo>
                <a:cubicBezTo>
                  <a:pt x="174587" y="95009"/>
                  <a:pt x="166999" y="205488"/>
                  <a:pt x="173988" y="304583"/>
                </a:cubicBezTo>
                <a:lnTo>
                  <a:pt x="220695" y="1010438"/>
                </a:lnTo>
                <a:cubicBezTo>
                  <a:pt x="255001" y="1475048"/>
                  <a:pt x="289307" y="1939658"/>
                  <a:pt x="321397" y="2416455"/>
                </a:cubicBezTo>
                <a:cubicBezTo>
                  <a:pt x="331242" y="2534231"/>
                  <a:pt x="317644" y="2712136"/>
                  <a:pt x="270759" y="2832395"/>
                </a:cubicBezTo>
                <a:cubicBezTo>
                  <a:pt x="254605" y="2886832"/>
                  <a:pt x="233379" y="2934775"/>
                  <a:pt x="189649" y="2968926"/>
                </a:cubicBezTo>
                <a:cubicBezTo>
                  <a:pt x="140848" y="2996583"/>
                  <a:pt x="81902" y="3011252"/>
                  <a:pt x="51471" y="2972285"/>
                </a:cubicBezTo>
                <a:cubicBezTo>
                  <a:pt x="23895" y="2952000"/>
                  <a:pt x="13112" y="2908144"/>
                  <a:pt x="14689" y="2865091"/>
                </a:cubicBezTo>
                <a:cubicBezTo>
                  <a:pt x="-43140" y="1979726"/>
                  <a:pt x="88866" y="1082025"/>
                  <a:pt x="82694" y="187684"/>
                </a:cubicBezTo>
                <a:cubicBezTo>
                  <a:pt x="76344" y="119456"/>
                  <a:pt x="87426" y="58524"/>
                  <a:pt x="135589" y="0"/>
                </a:cubicBezTo>
                <a:close/>
              </a:path>
            </a:pathLst>
          </a:cu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Freeform: Shape 107">
            <a:extLst>
              <a:ext uri="{FF2B5EF4-FFF2-40B4-BE49-F238E27FC236}">
                <a16:creationId xmlns:a16="http://schemas.microsoft.com/office/drawing/2014/main" id="{2857658E-0B86-401F-87C0-ADBC7D2F0892}"/>
              </a:ext>
            </a:extLst>
          </p:cNvPr>
          <p:cNvSpPr/>
          <p:nvPr/>
        </p:nvSpPr>
        <p:spPr>
          <a:xfrm>
            <a:off x="7295590" y="3408271"/>
            <a:ext cx="45719" cy="422229"/>
          </a:xfrm>
          <a:custGeom>
            <a:avLst/>
            <a:gdLst>
              <a:gd name="connsiteX0" fmla="*/ 135589 w 324412"/>
              <a:gd name="connsiteY0" fmla="*/ 0 h 2996034"/>
              <a:gd name="connsiteX1" fmla="*/ 173988 w 324412"/>
              <a:gd name="connsiteY1" fmla="*/ 304583 h 2996034"/>
              <a:gd name="connsiteX2" fmla="*/ 220695 w 324412"/>
              <a:gd name="connsiteY2" fmla="*/ 1010438 h 2996034"/>
              <a:gd name="connsiteX3" fmla="*/ 321397 w 324412"/>
              <a:gd name="connsiteY3" fmla="*/ 2416455 h 2996034"/>
              <a:gd name="connsiteX4" fmla="*/ 270759 w 324412"/>
              <a:gd name="connsiteY4" fmla="*/ 2832395 h 2996034"/>
              <a:gd name="connsiteX5" fmla="*/ 189649 w 324412"/>
              <a:gd name="connsiteY5" fmla="*/ 2968926 h 2996034"/>
              <a:gd name="connsiteX6" fmla="*/ 51471 w 324412"/>
              <a:gd name="connsiteY6" fmla="*/ 2972285 h 2996034"/>
              <a:gd name="connsiteX7" fmla="*/ 14689 w 324412"/>
              <a:gd name="connsiteY7" fmla="*/ 2865091 h 2996034"/>
              <a:gd name="connsiteX8" fmla="*/ 82694 w 324412"/>
              <a:gd name="connsiteY8" fmla="*/ 187684 h 2996034"/>
              <a:gd name="connsiteX9" fmla="*/ 135589 w 324412"/>
              <a:gd name="connsiteY9" fmla="*/ 0 h 299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4412" h="2996034">
                <a:moveTo>
                  <a:pt x="135589" y="0"/>
                </a:moveTo>
                <a:cubicBezTo>
                  <a:pt x="174587" y="95009"/>
                  <a:pt x="166999" y="205488"/>
                  <a:pt x="173988" y="304583"/>
                </a:cubicBezTo>
                <a:lnTo>
                  <a:pt x="220695" y="1010438"/>
                </a:lnTo>
                <a:cubicBezTo>
                  <a:pt x="255001" y="1475048"/>
                  <a:pt x="289307" y="1939658"/>
                  <a:pt x="321397" y="2416455"/>
                </a:cubicBezTo>
                <a:cubicBezTo>
                  <a:pt x="331242" y="2534231"/>
                  <a:pt x="317644" y="2712136"/>
                  <a:pt x="270759" y="2832395"/>
                </a:cubicBezTo>
                <a:cubicBezTo>
                  <a:pt x="254605" y="2886832"/>
                  <a:pt x="233379" y="2934775"/>
                  <a:pt x="189649" y="2968926"/>
                </a:cubicBezTo>
                <a:cubicBezTo>
                  <a:pt x="140848" y="2996583"/>
                  <a:pt x="81902" y="3011252"/>
                  <a:pt x="51471" y="2972285"/>
                </a:cubicBezTo>
                <a:cubicBezTo>
                  <a:pt x="23895" y="2952000"/>
                  <a:pt x="13112" y="2908144"/>
                  <a:pt x="14689" y="2865091"/>
                </a:cubicBezTo>
                <a:cubicBezTo>
                  <a:pt x="-43140" y="1979726"/>
                  <a:pt x="88866" y="1082025"/>
                  <a:pt x="82694" y="187684"/>
                </a:cubicBezTo>
                <a:cubicBezTo>
                  <a:pt x="76344" y="119456"/>
                  <a:pt x="87426" y="58524"/>
                  <a:pt x="135589"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Freeform: Shape 108">
            <a:extLst>
              <a:ext uri="{FF2B5EF4-FFF2-40B4-BE49-F238E27FC236}">
                <a16:creationId xmlns:a16="http://schemas.microsoft.com/office/drawing/2014/main" id="{007FBFDF-BF2B-440B-9676-D1659E99C3B3}"/>
              </a:ext>
            </a:extLst>
          </p:cNvPr>
          <p:cNvSpPr/>
          <p:nvPr/>
        </p:nvSpPr>
        <p:spPr>
          <a:xfrm>
            <a:off x="8495619" y="3244399"/>
            <a:ext cx="45719" cy="422229"/>
          </a:xfrm>
          <a:custGeom>
            <a:avLst/>
            <a:gdLst>
              <a:gd name="connsiteX0" fmla="*/ 135589 w 324412"/>
              <a:gd name="connsiteY0" fmla="*/ 0 h 2996034"/>
              <a:gd name="connsiteX1" fmla="*/ 173988 w 324412"/>
              <a:gd name="connsiteY1" fmla="*/ 304583 h 2996034"/>
              <a:gd name="connsiteX2" fmla="*/ 220695 w 324412"/>
              <a:gd name="connsiteY2" fmla="*/ 1010438 h 2996034"/>
              <a:gd name="connsiteX3" fmla="*/ 321397 w 324412"/>
              <a:gd name="connsiteY3" fmla="*/ 2416455 h 2996034"/>
              <a:gd name="connsiteX4" fmla="*/ 270759 w 324412"/>
              <a:gd name="connsiteY4" fmla="*/ 2832395 h 2996034"/>
              <a:gd name="connsiteX5" fmla="*/ 189649 w 324412"/>
              <a:gd name="connsiteY5" fmla="*/ 2968926 h 2996034"/>
              <a:gd name="connsiteX6" fmla="*/ 51471 w 324412"/>
              <a:gd name="connsiteY6" fmla="*/ 2972285 h 2996034"/>
              <a:gd name="connsiteX7" fmla="*/ 14689 w 324412"/>
              <a:gd name="connsiteY7" fmla="*/ 2865091 h 2996034"/>
              <a:gd name="connsiteX8" fmla="*/ 82694 w 324412"/>
              <a:gd name="connsiteY8" fmla="*/ 187684 h 2996034"/>
              <a:gd name="connsiteX9" fmla="*/ 135589 w 324412"/>
              <a:gd name="connsiteY9" fmla="*/ 0 h 299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4412" h="2996034">
                <a:moveTo>
                  <a:pt x="135589" y="0"/>
                </a:moveTo>
                <a:cubicBezTo>
                  <a:pt x="174587" y="95009"/>
                  <a:pt x="166999" y="205488"/>
                  <a:pt x="173988" y="304583"/>
                </a:cubicBezTo>
                <a:lnTo>
                  <a:pt x="220695" y="1010438"/>
                </a:lnTo>
                <a:cubicBezTo>
                  <a:pt x="255001" y="1475048"/>
                  <a:pt x="289307" y="1939658"/>
                  <a:pt x="321397" y="2416455"/>
                </a:cubicBezTo>
                <a:cubicBezTo>
                  <a:pt x="331242" y="2534231"/>
                  <a:pt x="317644" y="2712136"/>
                  <a:pt x="270759" y="2832395"/>
                </a:cubicBezTo>
                <a:cubicBezTo>
                  <a:pt x="254605" y="2886832"/>
                  <a:pt x="233379" y="2934775"/>
                  <a:pt x="189649" y="2968926"/>
                </a:cubicBezTo>
                <a:cubicBezTo>
                  <a:pt x="140848" y="2996583"/>
                  <a:pt x="81902" y="3011252"/>
                  <a:pt x="51471" y="2972285"/>
                </a:cubicBezTo>
                <a:cubicBezTo>
                  <a:pt x="23895" y="2952000"/>
                  <a:pt x="13112" y="2908144"/>
                  <a:pt x="14689" y="2865091"/>
                </a:cubicBezTo>
                <a:cubicBezTo>
                  <a:pt x="-43140" y="1979726"/>
                  <a:pt x="88866" y="1082025"/>
                  <a:pt x="82694" y="187684"/>
                </a:cubicBezTo>
                <a:cubicBezTo>
                  <a:pt x="76344" y="119456"/>
                  <a:pt x="87426" y="58524"/>
                  <a:pt x="135589" y="0"/>
                </a:cubicBezTo>
                <a:close/>
              </a:path>
            </a:pathLst>
          </a:cu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0" name="Group 109">
            <a:extLst>
              <a:ext uri="{FF2B5EF4-FFF2-40B4-BE49-F238E27FC236}">
                <a16:creationId xmlns:a16="http://schemas.microsoft.com/office/drawing/2014/main" id="{79C79529-B9E4-4B2A-BD54-6F0C442DD0BB}"/>
              </a:ext>
            </a:extLst>
          </p:cNvPr>
          <p:cNvGrpSpPr/>
          <p:nvPr/>
        </p:nvGrpSpPr>
        <p:grpSpPr>
          <a:xfrm>
            <a:off x="7848385" y="3362378"/>
            <a:ext cx="2937088" cy="1382486"/>
            <a:chOff x="8921977" y="1466725"/>
            <a:chExt cx="2937088" cy="1382486"/>
          </a:xfrm>
        </p:grpSpPr>
        <p:sp>
          <p:nvSpPr>
            <p:cNvPr id="111" name="TextBox 110">
              <a:extLst>
                <a:ext uri="{FF2B5EF4-FFF2-40B4-BE49-F238E27FC236}">
                  <a16:creationId xmlns:a16="http://schemas.microsoft.com/office/drawing/2014/main" id="{2760E40A-3D21-4FCB-B7E1-9E0E66CDD51E}"/>
                </a:ext>
              </a:extLst>
            </p:cNvPr>
            <p:cNvSpPr txBox="1"/>
            <p:nvPr/>
          </p:nvSpPr>
          <p:spPr>
            <a:xfrm>
              <a:off x="8921977" y="1466725"/>
              <a:ext cx="2937088" cy="461665"/>
            </a:xfrm>
            <a:prstGeom prst="rect">
              <a:avLst/>
            </a:prstGeom>
            <a:noFill/>
          </p:spPr>
          <p:txBody>
            <a:bodyPr wrap="square" lIns="0" rIns="0" rtlCol="0" anchor="b">
              <a:spAutoFit/>
            </a:bodyPr>
            <a:lstStyle/>
            <a:p>
              <a:r>
                <a:rPr lang="en-US" sz="2400" b="1" cap="all"/>
                <a:t>Applications</a:t>
              </a:r>
            </a:p>
          </p:txBody>
        </p:sp>
        <p:sp>
          <p:nvSpPr>
            <p:cNvPr id="112" name="TextBox 111">
              <a:extLst>
                <a:ext uri="{FF2B5EF4-FFF2-40B4-BE49-F238E27FC236}">
                  <a16:creationId xmlns:a16="http://schemas.microsoft.com/office/drawing/2014/main" id="{B4417CE3-E31D-4841-B5C0-8D993D4312C7}"/>
                </a:ext>
              </a:extLst>
            </p:cNvPr>
            <p:cNvSpPr txBox="1"/>
            <p:nvPr/>
          </p:nvSpPr>
          <p:spPr>
            <a:xfrm>
              <a:off x="8929772" y="1925881"/>
              <a:ext cx="2929293" cy="923330"/>
            </a:xfrm>
            <a:prstGeom prst="rect">
              <a:avLst/>
            </a:prstGeom>
            <a:noFill/>
          </p:spPr>
          <p:txBody>
            <a:bodyPr wrap="square" lIns="0" rIns="0" rtlCol="0" anchor="t">
              <a:spAutoFit/>
            </a:bodyPr>
            <a:lstStyle/>
            <a:p>
              <a:r>
                <a:rPr lang="en-US">
                  <a:solidFill>
                    <a:schemeClr val="tx1">
                      <a:lumMod val="65000"/>
                      <a:lumOff val="35000"/>
                    </a:schemeClr>
                  </a:solidFill>
                </a:rPr>
                <a:t>What are the real-world ethical implications in road safety problems? A case of </a:t>
              </a:r>
              <a:r>
                <a:rPr lang="en-US" b="1">
                  <a:solidFill>
                    <a:schemeClr val="tx1">
                      <a:lumMod val="65000"/>
                      <a:lumOff val="35000"/>
                    </a:schemeClr>
                  </a:solidFill>
                </a:rPr>
                <a:t>LMIC</a:t>
              </a:r>
            </a:p>
          </p:txBody>
        </p:sp>
      </p:grpSp>
      <p:grpSp>
        <p:nvGrpSpPr>
          <p:cNvPr id="116" name="Group 115">
            <a:extLst>
              <a:ext uri="{FF2B5EF4-FFF2-40B4-BE49-F238E27FC236}">
                <a16:creationId xmlns:a16="http://schemas.microsoft.com/office/drawing/2014/main" id="{1A3962C2-DC32-427A-A163-6A31BB56AFE8}"/>
              </a:ext>
            </a:extLst>
          </p:cNvPr>
          <p:cNvGrpSpPr/>
          <p:nvPr/>
        </p:nvGrpSpPr>
        <p:grpSpPr>
          <a:xfrm>
            <a:off x="1302863" y="1425398"/>
            <a:ext cx="3018115" cy="1936846"/>
            <a:chOff x="332936" y="2590362"/>
            <a:chExt cx="3018115" cy="2093770"/>
          </a:xfrm>
        </p:grpSpPr>
        <p:sp>
          <p:nvSpPr>
            <p:cNvPr id="117" name="TextBox 116">
              <a:extLst>
                <a:ext uri="{FF2B5EF4-FFF2-40B4-BE49-F238E27FC236}">
                  <a16:creationId xmlns:a16="http://schemas.microsoft.com/office/drawing/2014/main" id="{BFE137F6-AB2E-4E93-B2A0-548F84A92DF9}"/>
                </a:ext>
              </a:extLst>
            </p:cNvPr>
            <p:cNvSpPr txBox="1"/>
            <p:nvPr/>
          </p:nvSpPr>
          <p:spPr>
            <a:xfrm>
              <a:off x="332936" y="2590362"/>
              <a:ext cx="2937088" cy="499069"/>
            </a:xfrm>
            <a:prstGeom prst="rect">
              <a:avLst/>
            </a:prstGeom>
            <a:noFill/>
          </p:spPr>
          <p:txBody>
            <a:bodyPr wrap="square" lIns="0" rIns="0" rtlCol="0" anchor="b">
              <a:spAutoFit/>
            </a:bodyPr>
            <a:lstStyle/>
            <a:p>
              <a:pPr algn="ctr"/>
              <a:r>
                <a:rPr lang="en-US" sz="2400" b="1" cap="all"/>
                <a:t>Ethical dimensions</a:t>
              </a:r>
            </a:p>
          </p:txBody>
        </p:sp>
        <p:sp>
          <p:nvSpPr>
            <p:cNvPr id="118" name="TextBox 117">
              <a:extLst>
                <a:ext uri="{FF2B5EF4-FFF2-40B4-BE49-F238E27FC236}">
                  <a16:creationId xmlns:a16="http://schemas.microsoft.com/office/drawing/2014/main" id="{2679A9F4-2A7B-4739-A20F-2B8088B0D59F}"/>
                </a:ext>
              </a:extLst>
            </p:cNvPr>
            <p:cNvSpPr txBox="1"/>
            <p:nvPr/>
          </p:nvSpPr>
          <p:spPr>
            <a:xfrm>
              <a:off x="421758" y="3087110"/>
              <a:ext cx="2929293" cy="1597022"/>
            </a:xfrm>
            <a:prstGeom prst="rect">
              <a:avLst/>
            </a:prstGeom>
            <a:noFill/>
          </p:spPr>
          <p:txBody>
            <a:bodyPr wrap="square" lIns="0" rIns="0" rtlCol="0" anchor="t">
              <a:spAutoFit/>
            </a:bodyPr>
            <a:lstStyle/>
            <a:p>
              <a:pPr marL="285750" indent="-285750">
                <a:buFont typeface="Arial" panose="020B0604020202020204" pitchFamily="34" charset="0"/>
                <a:buChar char="•"/>
              </a:pPr>
              <a:r>
                <a:rPr lang="en-US">
                  <a:solidFill>
                    <a:schemeClr val="tx1">
                      <a:lumMod val="65000"/>
                      <a:lumOff val="35000"/>
                    </a:schemeClr>
                  </a:solidFill>
                </a:rPr>
                <a:t>What is ethics?</a:t>
              </a:r>
            </a:p>
            <a:p>
              <a:pPr marL="285750" indent="-285750">
                <a:buFont typeface="Arial" panose="020B0604020202020204" pitchFamily="34" charset="0"/>
                <a:buChar char="•"/>
              </a:pPr>
              <a:r>
                <a:rPr lang="en-US">
                  <a:solidFill>
                    <a:schemeClr val="tx1">
                      <a:lumMod val="65000"/>
                      <a:lumOff val="35000"/>
                    </a:schemeClr>
                  </a:solidFill>
                </a:rPr>
                <a:t>Why is it important?</a:t>
              </a:r>
            </a:p>
            <a:p>
              <a:pPr marL="285750" indent="-285750">
                <a:buFont typeface="Arial" panose="020B0604020202020204" pitchFamily="34" charset="0"/>
                <a:buChar char="•"/>
              </a:pPr>
              <a:r>
                <a:rPr lang="en-US">
                  <a:solidFill>
                    <a:schemeClr val="tx1">
                      <a:lumMod val="65000"/>
                      <a:lumOff val="35000"/>
                    </a:schemeClr>
                  </a:solidFill>
                </a:rPr>
                <a:t>What are the different ethical aspects of AI </a:t>
              </a:r>
            </a:p>
            <a:p>
              <a:r>
                <a:rPr lang="en-US">
                  <a:solidFill>
                    <a:schemeClr val="tx1">
                      <a:lumMod val="65000"/>
                      <a:lumOff val="35000"/>
                    </a:schemeClr>
                  </a:solidFill>
                </a:rPr>
                <a:t>      in road safety?</a:t>
              </a:r>
            </a:p>
          </p:txBody>
        </p:sp>
      </p:grpSp>
      <p:grpSp>
        <p:nvGrpSpPr>
          <p:cNvPr id="119" name="Group 118">
            <a:extLst>
              <a:ext uri="{FF2B5EF4-FFF2-40B4-BE49-F238E27FC236}">
                <a16:creationId xmlns:a16="http://schemas.microsoft.com/office/drawing/2014/main" id="{B4E36275-6818-4C41-9CD2-0BC3C740CE6A}"/>
              </a:ext>
            </a:extLst>
          </p:cNvPr>
          <p:cNvGrpSpPr/>
          <p:nvPr/>
        </p:nvGrpSpPr>
        <p:grpSpPr>
          <a:xfrm>
            <a:off x="3337342" y="3486146"/>
            <a:ext cx="2937088" cy="1382486"/>
            <a:chOff x="332936" y="4652338"/>
            <a:chExt cx="2937088" cy="1382486"/>
          </a:xfrm>
        </p:grpSpPr>
        <p:sp>
          <p:nvSpPr>
            <p:cNvPr id="120" name="TextBox 119">
              <a:extLst>
                <a:ext uri="{FF2B5EF4-FFF2-40B4-BE49-F238E27FC236}">
                  <a16:creationId xmlns:a16="http://schemas.microsoft.com/office/drawing/2014/main" id="{18206BD1-3207-48C8-AEB3-C715B3DF3EEE}"/>
                </a:ext>
              </a:extLst>
            </p:cNvPr>
            <p:cNvSpPr txBox="1"/>
            <p:nvPr/>
          </p:nvSpPr>
          <p:spPr>
            <a:xfrm>
              <a:off x="332936" y="4652338"/>
              <a:ext cx="2937088" cy="461665"/>
            </a:xfrm>
            <a:prstGeom prst="rect">
              <a:avLst/>
            </a:prstGeom>
            <a:noFill/>
          </p:spPr>
          <p:txBody>
            <a:bodyPr wrap="square" lIns="0" rIns="0" rtlCol="0" anchor="b">
              <a:spAutoFit/>
            </a:bodyPr>
            <a:lstStyle/>
            <a:p>
              <a:r>
                <a:rPr lang="en-US" sz="2400" b="1" cap="all"/>
                <a:t>Methods</a:t>
              </a:r>
            </a:p>
          </p:txBody>
        </p:sp>
        <p:sp>
          <p:nvSpPr>
            <p:cNvPr id="121" name="TextBox 120">
              <a:extLst>
                <a:ext uri="{FF2B5EF4-FFF2-40B4-BE49-F238E27FC236}">
                  <a16:creationId xmlns:a16="http://schemas.microsoft.com/office/drawing/2014/main" id="{1EA87F5E-D210-42A7-8D6F-55DCBFD6FD72}"/>
                </a:ext>
              </a:extLst>
            </p:cNvPr>
            <p:cNvSpPr txBox="1"/>
            <p:nvPr/>
          </p:nvSpPr>
          <p:spPr>
            <a:xfrm>
              <a:off x="340731" y="5111494"/>
              <a:ext cx="2929293" cy="923330"/>
            </a:xfrm>
            <a:prstGeom prst="rect">
              <a:avLst/>
            </a:prstGeom>
            <a:noFill/>
          </p:spPr>
          <p:txBody>
            <a:bodyPr wrap="square" lIns="0" rIns="0" rtlCol="0" anchor="t">
              <a:spAutoFit/>
            </a:bodyPr>
            <a:lstStyle/>
            <a:p>
              <a:r>
                <a:rPr lang="en-US">
                  <a:solidFill>
                    <a:schemeClr val="tx1">
                      <a:lumMod val="65000"/>
                      <a:lumOff val="35000"/>
                    </a:schemeClr>
                  </a:solidFill>
                </a:rPr>
                <a:t>How to translate the ethical dimensions from theory to practice?</a:t>
              </a:r>
            </a:p>
          </p:txBody>
        </p:sp>
      </p:grpSp>
      <p:pic>
        <p:nvPicPr>
          <p:cNvPr id="123" name="Graphic 122" descr="Puzzle">
            <a:extLst>
              <a:ext uri="{FF2B5EF4-FFF2-40B4-BE49-F238E27FC236}">
                <a16:creationId xmlns:a16="http://schemas.microsoft.com/office/drawing/2014/main" id="{170BCDD2-DB03-4499-90DD-2FB7E6A5651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8599" y="2238862"/>
            <a:ext cx="591660" cy="591660"/>
          </a:xfrm>
          <a:prstGeom prst="rect">
            <a:avLst/>
          </a:prstGeom>
        </p:spPr>
      </p:pic>
      <p:pic>
        <p:nvPicPr>
          <p:cNvPr id="124" name="Graphic 123" descr="Lightbulb">
            <a:extLst>
              <a:ext uri="{FF2B5EF4-FFF2-40B4-BE49-F238E27FC236}">
                <a16:creationId xmlns:a16="http://schemas.microsoft.com/office/drawing/2014/main" id="{9E7D7577-1C6E-4620-9F98-EF41040E557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964911" y="2217896"/>
            <a:ext cx="591660" cy="591660"/>
          </a:xfrm>
          <a:prstGeom prst="rect">
            <a:avLst/>
          </a:prstGeom>
        </p:spPr>
      </p:pic>
      <p:sp>
        <p:nvSpPr>
          <p:cNvPr id="126" name="Freeform 47">
            <a:extLst>
              <a:ext uri="{FF2B5EF4-FFF2-40B4-BE49-F238E27FC236}">
                <a16:creationId xmlns:a16="http://schemas.microsoft.com/office/drawing/2014/main" id="{0AB8D6DA-28E7-4DF8-92A6-5D6FE05FAF13}"/>
              </a:ext>
            </a:extLst>
          </p:cNvPr>
          <p:cNvSpPr>
            <a:spLocks/>
          </p:cNvSpPr>
          <p:nvPr/>
        </p:nvSpPr>
        <p:spPr bwMode="auto">
          <a:xfrm>
            <a:off x="10002760" y="2143229"/>
            <a:ext cx="187325" cy="233363"/>
          </a:xfrm>
          <a:custGeom>
            <a:avLst/>
            <a:gdLst>
              <a:gd name="T0" fmla="*/ 206 w 206"/>
              <a:gd name="T1" fmla="*/ 0 h 288"/>
              <a:gd name="T2" fmla="*/ 189 w 206"/>
              <a:gd name="T3" fmla="*/ 14 h 288"/>
              <a:gd name="T4" fmla="*/ 5 w 206"/>
              <a:gd name="T5" fmla="*/ 265 h 288"/>
              <a:gd name="T6" fmla="*/ 1 w 206"/>
              <a:gd name="T7" fmla="*/ 278 h 288"/>
              <a:gd name="T8" fmla="*/ 13 w 206"/>
              <a:gd name="T9" fmla="*/ 288 h 288"/>
              <a:gd name="T10" fmla="*/ 29 w 206"/>
              <a:gd name="T11" fmla="*/ 281 h 288"/>
              <a:gd name="T12" fmla="*/ 61 w 206"/>
              <a:gd name="T13" fmla="*/ 245 h 288"/>
              <a:gd name="T14" fmla="*/ 146 w 206"/>
              <a:gd name="T15" fmla="*/ 103 h 288"/>
              <a:gd name="T16" fmla="*/ 189 w 206"/>
              <a:gd name="T17" fmla="*/ 32 h 288"/>
              <a:gd name="T18" fmla="*/ 206 w 206"/>
              <a:gd name="T1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88">
                <a:moveTo>
                  <a:pt x="206" y="0"/>
                </a:moveTo>
                <a:cubicBezTo>
                  <a:pt x="198" y="2"/>
                  <a:pt x="193" y="7"/>
                  <a:pt x="189" y="14"/>
                </a:cubicBezTo>
                <a:cubicBezTo>
                  <a:pt x="130" y="100"/>
                  <a:pt x="59" y="176"/>
                  <a:pt x="5" y="265"/>
                </a:cubicBezTo>
                <a:cubicBezTo>
                  <a:pt x="2" y="269"/>
                  <a:pt x="0" y="274"/>
                  <a:pt x="1" y="278"/>
                </a:cubicBezTo>
                <a:cubicBezTo>
                  <a:pt x="1" y="284"/>
                  <a:pt x="7" y="287"/>
                  <a:pt x="13" y="288"/>
                </a:cubicBezTo>
                <a:cubicBezTo>
                  <a:pt x="19" y="288"/>
                  <a:pt x="24" y="285"/>
                  <a:pt x="29" y="281"/>
                </a:cubicBezTo>
                <a:cubicBezTo>
                  <a:pt x="41" y="273"/>
                  <a:pt x="54" y="257"/>
                  <a:pt x="61" y="245"/>
                </a:cubicBezTo>
                <a:cubicBezTo>
                  <a:pt x="90" y="197"/>
                  <a:pt x="118" y="150"/>
                  <a:pt x="146" y="103"/>
                </a:cubicBezTo>
                <a:lnTo>
                  <a:pt x="189" y="32"/>
                </a:lnTo>
                <a:cubicBezTo>
                  <a:pt x="195" y="22"/>
                  <a:pt x="203" y="12"/>
                  <a:pt x="20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pic>
        <p:nvPicPr>
          <p:cNvPr id="5" name="Picture 4">
            <a:extLst>
              <a:ext uri="{FF2B5EF4-FFF2-40B4-BE49-F238E27FC236}">
                <a16:creationId xmlns:a16="http://schemas.microsoft.com/office/drawing/2014/main" id="{0EF8B168-F0B8-DFFD-CFAE-09598FB1DE3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01817" y="2270623"/>
            <a:ext cx="511133" cy="511133"/>
          </a:xfrm>
          <a:prstGeom prst="rect">
            <a:avLst/>
          </a:prstGeom>
        </p:spPr>
      </p:pic>
    </p:spTree>
    <p:extLst>
      <p:ext uri="{BB962C8B-B14F-4D97-AF65-F5344CB8AC3E}">
        <p14:creationId xmlns:p14="http://schemas.microsoft.com/office/powerpoint/2010/main" val="2606719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6"/>
                                        </p:tgtEl>
                                        <p:attrNameLst>
                                          <p:attrName>style.visibility</p:attrName>
                                        </p:attrNameLst>
                                      </p:cBhvr>
                                      <p:to>
                                        <p:strVal val="visible"/>
                                      </p:to>
                                    </p:set>
                                    <p:anim calcmode="lin" valueType="num">
                                      <p:cBhvr additive="base">
                                        <p:cTn id="7" dur="500" fill="hold"/>
                                        <p:tgtEl>
                                          <p:spTgt spid="116"/>
                                        </p:tgtEl>
                                        <p:attrNameLst>
                                          <p:attrName>ppt_x</p:attrName>
                                        </p:attrNameLst>
                                      </p:cBhvr>
                                      <p:tavLst>
                                        <p:tav tm="0">
                                          <p:val>
                                            <p:strVal val="#ppt_x"/>
                                          </p:val>
                                        </p:tav>
                                        <p:tav tm="100000">
                                          <p:val>
                                            <p:strVal val="#ppt_x"/>
                                          </p:val>
                                        </p:tav>
                                      </p:tavLst>
                                    </p:anim>
                                    <p:anim calcmode="lin" valueType="num">
                                      <p:cBhvr additive="base">
                                        <p:cTn id="8" dur="500" fill="hold"/>
                                        <p:tgtEl>
                                          <p:spTgt spid="116"/>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23"/>
                                        </p:tgtEl>
                                        <p:attrNameLst>
                                          <p:attrName>style.visibility</p:attrName>
                                        </p:attrNameLst>
                                      </p:cBhvr>
                                      <p:to>
                                        <p:strVal val="visible"/>
                                      </p:to>
                                    </p:set>
                                    <p:anim calcmode="lin" valueType="num">
                                      <p:cBhvr additive="base">
                                        <p:cTn id="17" dur="500" fill="hold"/>
                                        <p:tgtEl>
                                          <p:spTgt spid="123"/>
                                        </p:tgtEl>
                                        <p:attrNameLst>
                                          <p:attrName>ppt_x</p:attrName>
                                        </p:attrNameLst>
                                      </p:cBhvr>
                                      <p:tavLst>
                                        <p:tav tm="0">
                                          <p:val>
                                            <p:strVal val="#ppt_x"/>
                                          </p:val>
                                        </p:tav>
                                        <p:tav tm="100000">
                                          <p:val>
                                            <p:strVal val="#ppt_x"/>
                                          </p:val>
                                        </p:tav>
                                      </p:tavLst>
                                    </p:anim>
                                    <p:anim calcmode="lin" valueType="num">
                                      <p:cBhvr additive="base">
                                        <p:cTn id="18" dur="500" fill="hold"/>
                                        <p:tgtEl>
                                          <p:spTgt spid="123"/>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119"/>
                                        </p:tgtEl>
                                        <p:attrNameLst>
                                          <p:attrName>style.visibility</p:attrName>
                                        </p:attrNameLst>
                                      </p:cBhvr>
                                      <p:to>
                                        <p:strVal val="visible"/>
                                      </p:to>
                                    </p:set>
                                    <p:anim calcmode="lin" valueType="num">
                                      <p:cBhvr additive="base">
                                        <p:cTn id="21" dur="500" fill="hold"/>
                                        <p:tgtEl>
                                          <p:spTgt spid="119"/>
                                        </p:tgtEl>
                                        <p:attrNameLst>
                                          <p:attrName>ppt_x</p:attrName>
                                        </p:attrNameLst>
                                      </p:cBhvr>
                                      <p:tavLst>
                                        <p:tav tm="0">
                                          <p:val>
                                            <p:strVal val="#ppt_x"/>
                                          </p:val>
                                        </p:tav>
                                        <p:tav tm="100000">
                                          <p:val>
                                            <p:strVal val="#ppt_x"/>
                                          </p:val>
                                        </p:tav>
                                      </p:tavLst>
                                    </p:anim>
                                    <p:anim calcmode="lin" valueType="num">
                                      <p:cBhvr additive="base">
                                        <p:cTn id="22" dur="500" fill="hold"/>
                                        <p:tgtEl>
                                          <p:spTgt spid="119"/>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110"/>
                                        </p:tgtEl>
                                        <p:attrNameLst>
                                          <p:attrName>style.visibility</p:attrName>
                                        </p:attrNameLst>
                                      </p:cBhvr>
                                      <p:to>
                                        <p:strVal val="visible"/>
                                      </p:to>
                                    </p:set>
                                    <p:anim calcmode="lin" valueType="num">
                                      <p:cBhvr additive="base">
                                        <p:cTn id="27" dur="500" fill="hold"/>
                                        <p:tgtEl>
                                          <p:spTgt spid="110"/>
                                        </p:tgtEl>
                                        <p:attrNameLst>
                                          <p:attrName>ppt_x</p:attrName>
                                        </p:attrNameLst>
                                      </p:cBhvr>
                                      <p:tavLst>
                                        <p:tav tm="0">
                                          <p:val>
                                            <p:strVal val="#ppt_x"/>
                                          </p:val>
                                        </p:tav>
                                        <p:tav tm="100000">
                                          <p:val>
                                            <p:strVal val="#ppt_x"/>
                                          </p:val>
                                        </p:tav>
                                      </p:tavLst>
                                    </p:anim>
                                    <p:anim calcmode="lin" valueType="num">
                                      <p:cBhvr additive="base">
                                        <p:cTn id="28" dur="500" fill="hold"/>
                                        <p:tgtEl>
                                          <p:spTgt spid="110"/>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24"/>
                                        </p:tgtEl>
                                        <p:attrNameLst>
                                          <p:attrName>style.visibility</p:attrName>
                                        </p:attrNameLst>
                                      </p:cBhvr>
                                      <p:to>
                                        <p:strVal val="visible"/>
                                      </p:to>
                                    </p:set>
                                    <p:anim calcmode="lin" valueType="num">
                                      <p:cBhvr additive="base">
                                        <p:cTn id="31" dur="500" fill="hold"/>
                                        <p:tgtEl>
                                          <p:spTgt spid="124"/>
                                        </p:tgtEl>
                                        <p:attrNameLst>
                                          <p:attrName>ppt_x</p:attrName>
                                        </p:attrNameLst>
                                      </p:cBhvr>
                                      <p:tavLst>
                                        <p:tav tm="0">
                                          <p:val>
                                            <p:strVal val="#ppt_x"/>
                                          </p:val>
                                        </p:tav>
                                        <p:tav tm="100000">
                                          <p:val>
                                            <p:strVal val="#ppt_x"/>
                                          </p:val>
                                        </p:tav>
                                      </p:tavLst>
                                    </p:anim>
                                    <p:anim calcmode="lin" valueType="num">
                                      <p:cBhvr additive="base">
                                        <p:cTn id="32" dur="500" fill="hold"/>
                                        <p:tgtEl>
                                          <p:spTgt spid="1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5A974-7337-46DD-3E8A-1671C99FF4CF}"/>
              </a:ext>
            </a:extLst>
          </p:cNvPr>
          <p:cNvSpPr>
            <a:spLocks noGrp="1"/>
          </p:cNvSpPr>
          <p:nvPr>
            <p:ph type="title"/>
          </p:nvPr>
        </p:nvSpPr>
        <p:spPr/>
        <p:txBody>
          <a:bodyPr/>
          <a:lstStyle/>
          <a:p>
            <a:r>
              <a:rPr lang="en-US" sz="3200" dirty="0"/>
              <a:t>Example: Limited Visual Clues</a:t>
            </a:r>
          </a:p>
        </p:txBody>
      </p:sp>
      <p:sp>
        <p:nvSpPr>
          <p:cNvPr id="4" name="Footer Placeholder 3">
            <a:extLst>
              <a:ext uri="{FF2B5EF4-FFF2-40B4-BE49-F238E27FC236}">
                <a16:creationId xmlns:a16="http://schemas.microsoft.com/office/drawing/2014/main" id="{A17C3D54-8233-D035-7773-7C666BF7EBDA}"/>
              </a:ext>
            </a:extLst>
          </p:cNvPr>
          <p:cNvSpPr>
            <a:spLocks noGrp="1"/>
          </p:cNvSpPr>
          <p:nvPr>
            <p:ph type="ftr" sz="quarter" idx="14"/>
          </p:nvPr>
        </p:nvSpPr>
        <p:spPr/>
        <p:txBody>
          <a:bodyPr/>
          <a:lstStyle/>
          <a:p>
            <a:pPr>
              <a:defRPr/>
            </a:pPr>
            <a:r>
              <a:rPr lang="en-GB"/>
              <a:t>www.ivory-network.eu</a:t>
            </a:r>
          </a:p>
        </p:txBody>
      </p:sp>
      <p:pic>
        <p:nvPicPr>
          <p:cNvPr id="5" name="Content Placeholder 4" descr="A road with a light on it&#10;&#10;AI-generated content may be incorrect.">
            <a:extLst>
              <a:ext uri="{FF2B5EF4-FFF2-40B4-BE49-F238E27FC236}">
                <a16:creationId xmlns:a16="http://schemas.microsoft.com/office/drawing/2014/main" id="{DA3F7147-07DD-8EF7-F586-9ED2AA6DFA88}"/>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l="14557" r="12843" b="-1"/>
          <a:stretch>
            <a:fillRect/>
          </a:stretch>
        </p:blipFill>
        <p:spPr>
          <a:xfrm>
            <a:off x="838200" y="1725484"/>
            <a:ext cx="5105400" cy="3877457"/>
          </a:xfrm>
          <a:prstGeom prst="rect">
            <a:avLst/>
          </a:prstGeom>
          <a:effectLst>
            <a:outerShdw blurRad="254000" dist="190500" dir="5580000" sx="90000" sy="90000" algn="ctr" rotWithShape="0">
              <a:srgbClr val="000000">
                <a:alpha val="25000"/>
              </a:srgbClr>
            </a:outerShdw>
          </a:effectLst>
        </p:spPr>
      </p:pic>
      <p:pic>
        <p:nvPicPr>
          <p:cNvPr id="6" name="Content Placeholder 7" descr="A screenshot of a road with text and images&#10;&#10;AI-generated content may be incorrect.">
            <a:extLst>
              <a:ext uri="{FF2B5EF4-FFF2-40B4-BE49-F238E27FC236}">
                <a16:creationId xmlns:a16="http://schemas.microsoft.com/office/drawing/2014/main" id="{E9DF32AB-DD72-AF70-C969-42B38CA132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6972748" y="1690281"/>
            <a:ext cx="3590664" cy="3745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438967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82445E-DC3C-5A88-AC21-F82898D0F8E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704104-FFCB-4FF2-B0C7-6D447E4C0D68}"/>
              </a:ext>
            </a:extLst>
          </p:cNvPr>
          <p:cNvSpPr>
            <a:spLocks noGrp="1"/>
          </p:cNvSpPr>
          <p:nvPr>
            <p:ph type="title"/>
          </p:nvPr>
        </p:nvSpPr>
        <p:spPr/>
        <p:txBody>
          <a:bodyPr/>
          <a:lstStyle/>
          <a:p>
            <a:endParaRPr lang="en-US"/>
          </a:p>
        </p:txBody>
      </p:sp>
      <p:sp>
        <p:nvSpPr>
          <p:cNvPr id="4" name="Title 1">
            <a:extLst>
              <a:ext uri="{FF2B5EF4-FFF2-40B4-BE49-F238E27FC236}">
                <a16:creationId xmlns:a16="http://schemas.microsoft.com/office/drawing/2014/main" id="{F582ADE5-C1FB-8CF0-A159-CD1EB6B18421}"/>
              </a:ext>
            </a:extLst>
          </p:cNvPr>
          <p:cNvSpPr txBox="1">
            <a:spLocks/>
          </p:cNvSpPr>
          <p:nvPr/>
        </p:nvSpPr>
        <p:spPr bwMode="auto">
          <a:xfrm>
            <a:off x="838200" y="397478"/>
            <a:ext cx="1963679" cy="492443"/>
          </a:xfrm>
          <a:prstGeom prst="rect">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gn="l" rtl="0" eaLnBrk="1" fontAlgn="base" hangingPunct="1">
              <a:lnSpc>
                <a:spcPct val="100000"/>
              </a:lnSpc>
              <a:spcBef>
                <a:spcPct val="0"/>
              </a:spcBef>
              <a:spcAft>
                <a:spcPct val="0"/>
              </a:spcAft>
              <a:defRPr lang="nl-NL" sz="1800" b="1" kern="1200" cap="none" baseline="0">
                <a:solidFill>
                  <a:schemeClr val="accent1"/>
                </a:solidFill>
                <a:latin typeface="+mj-lt"/>
                <a:ea typeface="+mn-ea"/>
                <a:cs typeface="+mn-cs"/>
              </a:defRPr>
            </a:lvl1pPr>
            <a:lvl2pPr algn="l" rtl="0" eaLnBrk="1" fontAlgn="base" hangingPunct="1">
              <a:lnSpc>
                <a:spcPct val="90000"/>
              </a:lnSpc>
              <a:spcBef>
                <a:spcPct val="0"/>
              </a:spcBef>
              <a:spcAft>
                <a:spcPct val="0"/>
              </a:spcAft>
              <a:defRPr sz="4400" b="1">
                <a:solidFill>
                  <a:schemeClr val="lt1"/>
                </a:solidFill>
                <a:latin typeface="+mn-lt"/>
                <a:ea typeface="+mn-ea"/>
                <a:cs typeface="+mn-cs"/>
              </a:defRPr>
            </a:lvl2pPr>
            <a:lvl3pPr algn="l" rtl="0" eaLnBrk="1" fontAlgn="base" hangingPunct="1">
              <a:lnSpc>
                <a:spcPct val="90000"/>
              </a:lnSpc>
              <a:spcBef>
                <a:spcPct val="0"/>
              </a:spcBef>
              <a:spcAft>
                <a:spcPct val="0"/>
              </a:spcAft>
              <a:defRPr sz="4400" b="1">
                <a:solidFill>
                  <a:schemeClr val="lt1"/>
                </a:solidFill>
                <a:latin typeface="+mn-lt"/>
                <a:ea typeface="+mn-ea"/>
                <a:cs typeface="+mn-cs"/>
              </a:defRPr>
            </a:lvl3pPr>
            <a:lvl4pPr algn="l" rtl="0" eaLnBrk="1" fontAlgn="base" hangingPunct="1">
              <a:lnSpc>
                <a:spcPct val="90000"/>
              </a:lnSpc>
              <a:spcBef>
                <a:spcPct val="0"/>
              </a:spcBef>
              <a:spcAft>
                <a:spcPct val="0"/>
              </a:spcAft>
              <a:defRPr sz="4400" b="1">
                <a:solidFill>
                  <a:schemeClr val="lt1"/>
                </a:solidFill>
                <a:latin typeface="+mn-lt"/>
                <a:ea typeface="+mn-ea"/>
                <a:cs typeface="+mn-cs"/>
              </a:defRPr>
            </a:lvl4pPr>
            <a:lvl5pPr algn="l" rtl="0" eaLnBrk="1" fontAlgn="base" hangingPunct="1">
              <a:lnSpc>
                <a:spcPct val="90000"/>
              </a:lnSpc>
              <a:spcBef>
                <a:spcPct val="0"/>
              </a:spcBef>
              <a:spcAft>
                <a:spcPct val="0"/>
              </a:spcAft>
              <a:defRPr sz="4400" b="1">
                <a:solidFill>
                  <a:schemeClr val="lt1"/>
                </a:solidFill>
                <a:latin typeface="+mn-lt"/>
                <a:ea typeface="+mn-ea"/>
                <a:cs typeface="+mn-cs"/>
              </a:defRPr>
            </a:lvl5pPr>
            <a:lvl6pPr marL="457200" algn="l" rtl="0" eaLnBrk="1" fontAlgn="base" hangingPunct="1">
              <a:lnSpc>
                <a:spcPct val="90000"/>
              </a:lnSpc>
              <a:spcBef>
                <a:spcPct val="0"/>
              </a:spcBef>
              <a:spcAft>
                <a:spcPct val="0"/>
              </a:spcAft>
              <a:defRPr sz="4400" b="1">
                <a:solidFill>
                  <a:schemeClr val="lt1"/>
                </a:solidFill>
                <a:latin typeface="+mn-lt"/>
                <a:ea typeface="+mn-ea"/>
                <a:cs typeface="+mn-cs"/>
              </a:defRPr>
            </a:lvl6pPr>
            <a:lvl7pPr marL="914400" algn="l" rtl="0" eaLnBrk="1" fontAlgn="base" hangingPunct="1">
              <a:lnSpc>
                <a:spcPct val="90000"/>
              </a:lnSpc>
              <a:spcBef>
                <a:spcPct val="0"/>
              </a:spcBef>
              <a:spcAft>
                <a:spcPct val="0"/>
              </a:spcAft>
              <a:defRPr sz="4400" b="1">
                <a:solidFill>
                  <a:schemeClr val="lt1"/>
                </a:solidFill>
                <a:latin typeface="+mn-lt"/>
                <a:ea typeface="+mn-ea"/>
                <a:cs typeface="+mn-cs"/>
              </a:defRPr>
            </a:lvl7pPr>
            <a:lvl8pPr marL="1371600" algn="l" rtl="0" eaLnBrk="1" fontAlgn="base" hangingPunct="1">
              <a:lnSpc>
                <a:spcPct val="90000"/>
              </a:lnSpc>
              <a:spcBef>
                <a:spcPct val="0"/>
              </a:spcBef>
              <a:spcAft>
                <a:spcPct val="0"/>
              </a:spcAft>
              <a:defRPr sz="4400" b="1">
                <a:solidFill>
                  <a:schemeClr val="lt1"/>
                </a:solidFill>
                <a:latin typeface="+mn-lt"/>
                <a:ea typeface="+mn-ea"/>
                <a:cs typeface="+mn-cs"/>
              </a:defRPr>
            </a:lvl8pPr>
            <a:lvl9pPr marL="1828800" algn="l" rtl="0" eaLnBrk="1" fontAlgn="base" hangingPunct="1">
              <a:lnSpc>
                <a:spcPct val="90000"/>
              </a:lnSpc>
              <a:spcBef>
                <a:spcPct val="0"/>
              </a:spcBef>
              <a:spcAft>
                <a:spcPct val="0"/>
              </a:spcAft>
              <a:defRPr sz="4400" b="1">
                <a:solidFill>
                  <a:schemeClr val="lt1"/>
                </a:solidFill>
                <a:latin typeface="+mn-lt"/>
                <a:ea typeface="+mn-ea"/>
                <a:cs typeface="+mn-cs"/>
              </a:defRPr>
            </a:lvl9pPr>
          </a:lstStyle>
          <a:p>
            <a:r>
              <a:rPr lang="en-US" sz="3200" dirty="0"/>
              <a:t>Conclusions</a:t>
            </a:r>
          </a:p>
        </p:txBody>
      </p:sp>
      <p:sp>
        <p:nvSpPr>
          <p:cNvPr id="6" name="Content Placeholder 2">
            <a:extLst>
              <a:ext uri="{FF2B5EF4-FFF2-40B4-BE49-F238E27FC236}">
                <a16:creationId xmlns:a16="http://schemas.microsoft.com/office/drawing/2014/main" id="{16CA60B1-5914-3BF1-C1D4-506AA70FD5AC}"/>
              </a:ext>
            </a:extLst>
          </p:cNvPr>
          <p:cNvSpPr txBox="1">
            <a:spLocks/>
          </p:cNvSpPr>
          <p:nvPr/>
        </p:nvSpPr>
        <p:spPr>
          <a:xfrm>
            <a:off x="866954" y="1169956"/>
            <a:ext cx="10950798" cy="4347054"/>
          </a:xfrm>
          <a:prstGeom prst="rect">
            <a:avLst/>
          </a:prstGeom>
        </p:spPr>
        <p:txBody>
          <a:bodyPr lIns="91440" tIns="45720" rIns="91440" bIns="45720" anchor="t"/>
          <a:lstStyle>
            <a:lvl1pPr marL="357188" indent="-357188" algn="l" rtl="0" eaLnBrk="1" fontAlgn="base" hangingPunct="1">
              <a:lnSpc>
                <a:spcPct val="90000"/>
              </a:lnSpc>
              <a:spcBef>
                <a:spcPts val="1000"/>
              </a:spcBef>
              <a:spcAft>
                <a:spcPct val="0"/>
              </a:spcAft>
              <a:buClr>
                <a:srgbClr val="ADB9CA"/>
              </a:buClr>
              <a:buSzPct val="90000"/>
              <a:buFont typeface="Wingdings" panose="05000000000000000000" pitchFamily="2" charset="2"/>
              <a:buChar char="v"/>
              <a:defRPr sz="2800" kern="1200">
                <a:solidFill>
                  <a:schemeClr val="tx1"/>
                </a:solidFill>
                <a:latin typeface="+mn-lt"/>
                <a:ea typeface="+mn-ea"/>
                <a:cs typeface="+mn-cs"/>
              </a:defRPr>
            </a:lvl1pPr>
            <a:lvl2pPr marL="712788" indent="-255588" algn="l" rtl="0" eaLnBrk="1" fontAlgn="base" hangingPunct="1">
              <a:lnSpc>
                <a:spcPct val="90000"/>
              </a:lnSpc>
              <a:spcBef>
                <a:spcPts val="500"/>
              </a:spcBef>
              <a:spcAft>
                <a:spcPct val="0"/>
              </a:spcAft>
              <a:buClr>
                <a:srgbClr val="B8C3D1"/>
              </a:buClr>
              <a:buSzPct val="90000"/>
              <a:buFont typeface="Courier New" panose="02070309020205020404" pitchFamily="49" charset="0"/>
              <a:buChar char="o"/>
              <a:defRPr sz="2400" kern="1200">
                <a:solidFill>
                  <a:schemeClr val="tx1"/>
                </a:solidFill>
                <a:latin typeface="+mn-lt"/>
                <a:ea typeface="+mn-ea"/>
                <a:cs typeface="+mn-cs"/>
              </a:defRPr>
            </a:lvl2pPr>
            <a:lvl3pPr marL="1162050" indent="-247650" algn="l" rtl="0" eaLnBrk="1" fontAlgn="base" hangingPunct="1">
              <a:lnSpc>
                <a:spcPct val="90000"/>
              </a:lnSpc>
              <a:spcBef>
                <a:spcPts val="500"/>
              </a:spcBef>
              <a:spcAft>
                <a:spcPct val="0"/>
              </a:spcAft>
              <a:buClr>
                <a:srgbClr val="B8C3D1"/>
              </a:buClr>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6870" indent="-356870">
              <a:buFont typeface="Arial" panose="020B0604020202020204" pitchFamily="34" charset="0"/>
              <a:buChar char="•"/>
            </a:pPr>
            <a:r>
              <a:rPr lang="en-US" b="1" dirty="0">
                <a:solidFill>
                  <a:schemeClr val="accent5">
                    <a:lumMod val="76000"/>
                  </a:schemeClr>
                </a:solidFill>
                <a:ea typeface="Calibri"/>
                <a:cs typeface="Calibri"/>
              </a:rPr>
              <a:t>AI and ethics must be coupled – horizontal approach</a:t>
            </a:r>
          </a:p>
          <a:p>
            <a:pPr marL="0" indent="0">
              <a:buNone/>
            </a:pPr>
            <a:r>
              <a:rPr lang="en-US" dirty="0">
                <a:ea typeface="Calibri"/>
                <a:cs typeface="Calibri"/>
              </a:rPr>
              <a:t>Responsibility, explainability, autonomy, justice, privacy</a:t>
            </a:r>
          </a:p>
          <a:p>
            <a:pPr marL="0" indent="0">
              <a:buNone/>
            </a:pPr>
            <a:endParaRPr lang="en-US" dirty="0">
              <a:ea typeface="Calibri"/>
              <a:cs typeface="Calibri"/>
            </a:endParaRPr>
          </a:p>
          <a:p>
            <a:pPr marL="356870" indent="-356870">
              <a:buFont typeface="Arial" panose="020B0604020202020204" pitchFamily="34" charset="0"/>
              <a:buChar char="•"/>
            </a:pPr>
            <a:r>
              <a:rPr lang="en-US" b="1" dirty="0">
                <a:solidFill>
                  <a:schemeClr val="accent5">
                    <a:lumMod val="76000"/>
                  </a:schemeClr>
                </a:solidFill>
                <a:ea typeface="Calibri"/>
                <a:cs typeface="Calibri"/>
              </a:rPr>
              <a:t>Methodologies to translate theory into practice</a:t>
            </a:r>
          </a:p>
          <a:p>
            <a:pPr marL="0" indent="0">
              <a:buNone/>
            </a:pPr>
            <a:r>
              <a:rPr lang="en-US" dirty="0">
                <a:ea typeface="Calibri"/>
                <a:cs typeface="Calibri"/>
              </a:rPr>
              <a:t>Study focus, data collection, data preprocessing, data analysis, data visualization, etc.</a:t>
            </a:r>
          </a:p>
          <a:p>
            <a:pPr marL="0" indent="0">
              <a:buNone/>
            </a:pPr>
            <a:endParaRPr lang="en-US" dirty="0">
              <a:ea typeface="Calibri"/>
              <a:cs typeface="Calibri"/>
            </a:endParaRPr>
          </a:p>
          <a:p>
            <a:pPr marL="356870" indent="-356870">
              <a:buFont typeface="Arial" panose="020B0604020202020204" pitchFamily="34" charset="0"/>
              <a:buChar char="•"/>
            </a:pPr>
            <a:r>
              <a:rPr lang="en-US" b="1" dirty="0">
                <a:solidFill>
                  <a:schemeClr val="accent5">
                    <a:lumMod val="76000"/>
                  </a:schemeClr>
                </a:solidFill>
                <a:ea typeface="Calibri"/>
                <a:cs typeface="Calibri"/>
              </a:rPr>
              <a:t>Ethical implications are pronounced in road assessment</a:t>
            </a:r>
          </a:p>
          <a:p>
            <a:pPr marL="0" indent="0">
              <a:buNone/>
            </a:pPr>
            <a:r>
              <a:rPr lang="en-US" dirty="0">
                <a:ea typeface="Calibri"/>
                <a:cs typeface="Calibri"/>
              </a:rPr>
              <a:t>Data needs particularly for LMIC, explainability</a:t>
            </a:r>
          </a:p>
        </p:txBody>
      </p:sp>
    </p:spTree>
    <p:extLst>
      <p:ext uri="{BB962C8B-B14F-4D97-AF65-F5344CB8AC3E}">
        <p14:creationId xmlns:p14="http://schemas.microsoft.com/office/powerpoint/2010/main" val="1655757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BA9C95B1-529A-D0BA-097C-E4CA1D6F2BD8}"/>
              </a:ext>
            </a:extLst>
          </p:cNvPr>
          <p:cNvSpPr>
            <a:spLocks noGrp="1"/>
          </p:cNvSpPr>
          <p:nvPr>
            <p:ph type="ctrTitle"/>
          </p:nvPr>
        </p:nvSpPr>
        <p:spPr>
          <a:xfrm>
            <a:off x="393107" y="316193"/>
            <a:ext cx="11382998" cy="4196171"/>
          </a:xfrm>
        </p:spPr>
        <p:txBody>
          <a:bodyPr/>
          <a:lstStyle/>
          <a:p>
            <a:br>
              <a:rPr lang="nl-BE" dirty="0"/>
            </a:br>
            <a:br>
              <a:rPr lang="nl-BE" dirty="0"/>
            </a:br>
            <a:r>
              <a:rPr lang="nl-BE" err="1"/>
              <a:t>Thank</a:t>
            </a:r>
            <a:r>
              <a:rPr lang="nl-BE"/>
              <a:t> you for listening!</a:t>
            </a:r>
            <a:br>
              <a:rPr lang="nl-BE" dirty="0"/>
            </a:br>
            <a:endParaRPr lang="nl-BE"/>
          </a:p>
        </p:txBody>
      </p:sp>
      <p:sp>
        <p:nvSpPr>
          <p:cNvPr id="6" name="Tijdelijke aanduiding voor voettekst 5">
            <a:extLst>
              <a:ext uri="{FF2B5EF4-FFF2-40B4-BE49-F238E27FC236}">
                <a16:creationId xmlns:a16="http://schemas.microsoft.com/office/drawing/2014/main" id="{B6DB1CA4-7D26-AD39-741B-F5B0F848858C}"/>
              </a:ext>
            </a:extLst>
          </p:cNvPr>
          <p:cNvSpPr>
            <a:spLocks noGrp="1"/>
          </p:cNvSpPr>
          <p:nvPr>
            <p:ph type="ftr" sz="quarter" idx="14"/>
          </p:nvPr>
        </p:nvSpPr>
        <p:spPr/>
        <p:txBody>
          <a:bodyPr/>
          <a:lstStyle/>
          <a:p>
            <a:pPr>
              <a:defRPr/>
            </a:pPr>
            <a:r>
              <a:rPr lang="en-GB"/>
              <a:t>www.ivory-network.eu</a:t>
            </a:r>
          </a:p>
        </p:txBody>
      </p:sp>
    </p:spTree>
    <p:extLst>
      <p:ext uri="{BB962C8B-B14F-4D97-AF65-F5344CB8AC3E}">
        <p14:creationId xmlns:p14="http://schemas.microsoft.com/office/powerpoint/2010/main" val="6026061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2C976D-FAB8-8890-6814-C0A243137B2C}"/>
              </a:ext>
            </a:extLst>
          </p:cNvPr>
          <p:cNvSpPr>
            <a:spLocks noGrp="1"/>
          </p:cNvSpPr>
          <p:nvPr>
            <p:ph type="title"/>
          </p:nvPr>
        </p:nvSpPr>
        <p:spPr/>
        <p:txBody>
          <a:bodyPr/>
          <a:lstStyle/>
          <a:p>
            <a:endParaRPr lang="en-US"/>
          </a:p>
        </p:txBody>
      </p:sp>
      <p:sp>
        <p:nvSpPr>
          <p:cNvPr id="5" name="Title 1">
            <a:extLst>
              <a:ext uri="{FF2B5EF4-FFF2-40B4-BE49-F238E27FC236}">
                <a16:creationId xmlns:a16="http://schemas.microsoft.com/office/drawing/2014/main" id="{F49FADE3-9D6C-1315-67BD-D23D9A7453AF}"/>
              </a:ext>
            </a:extLst>
          </p:cNvPr>
          <p:cNvSpPr txBox="1">
            <a:spLocks/>
          </p:cNvSpPr>
          <p:nvPr/>
        </p:nvSpPr>
        <p:spPr bwMode="auto">
          <a:xfrm>
            <a:off x="838200" y="397478"/>
            <a:ext cx="3384132" cy="492443"/>
          </a:xfrm>
          <a:prstGeom prst="rect">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gn="l" rtl="0" eaLnBrk="1" fontAlgn="base" hangingPunct="1">
              <a:lnSpc>
                <a:spcPct val="100000"/>
              </a:lnSpc>
              <a:spcBef>
                <a:spcPct val="0"/>
              </a:spcBef>
              <a:spcAft>
                <a:spcPct val="0"/>
              </a:spcAft>
              <a:defRPr lang="nl-NL" sz="1800" b="1" kern="1200" cap="none" baseline="0">
                <a:solidFill>
                  <a:schemeClr val="accent1"/>
                </a:solidFill>
                <a:latin typeface="+mj-lt"/>
                <a:ea typeface="+mn-ea"/>
                <a:cs typeface="+mn-cs"/>
              </a:defRPr>
            </a:lvl1pPr>
            <a:lvl2pPr algn="l" rtl="0" eaLnBrk="1" fontAlgn="base" hangingPunct="1">
              <a:lnSpc>
                <a:spcPct val="90000"/>
              </a:lnSpc>
              <a:spcBef>
                <a:spcPct val="0"/>
              </a:spcBef>
              <a:spcAft>
                <a:spcPct val="0"/>
              </a:spcAft>
              <a:defRPr sz="4400" b="1">
                <a:solidFill>
                  <a:schemeClr val="lt1"/>
                </a:solidFill>
                <a:latin typeface="+mn-lt"/>
                <a:ea typeface="+mn-ea"/>
                <a:cs typeface="+mn-cs"/>
              </a:defRPr>
            </a:lvl2pPr>
            <a:lvl3pPr algn="l" rtl="0" eaLnBrk="1" fontAlgn="base" hangingPunct="1">
              <a:lnSpc>
                <a:spcPct val="90000"/>
              </a:lnSpc>
              <a:spcBef>
                <a:spcPct val="0"/>
              </a:spcBef>
              <a:spcAft>
                <a:spcPct val="0"/>
              </a:spcAft>
              <a:defRPr sz="4400" b="1">
                <a:solidFill>
                  <a:schemeClr val="lt1"/>
                </a:solidFill>
                <a:latin typeface="+mn-lt"/>
                <a:ea typeface="+mn-ea"/>
                <a:cs typeface="+mn-cs"/>
              </a:defRPr>
            </a:lvl3pPr>
            <a:lvl4pPr algn="l" rtl="0" eaLnBrk="1" fontAlgn="base" hangingPunct="1">
              <a:lnSpc>
                <a:spcPct val="90000"/>
              </a:lnSpc>
              <a:spcBef>
                <a:spcPct val="0"/>
              </a:spcBef>
              <a:spcAft>
                <a:spcPct val="0"/>
              </a:spcAft>
              <a:defRPr sz="4400" b="1">
                <a:solidFill>
                  <a:schemeClr val="lt1"/>
                </a:solidFill>
                <a:latin typeface="+mn-lt"/>
                <a:ea typeface="+mn-ea"/>
                <a:cs typeface="+mn-cs"/>
              </a:defRPr>
            </a:lvl4pPr>
            <a:lvl5pPr algn="l" rtl="0" eaLnBrk="1" fontAlgn="base" hangingPunct="1">
              <a:lnSpc>
                <a:spcPct val="90000"/>
              </a:lnSpc>
              <a:spcBef>
                <a:spcPct val="0"/>
              </a:spcBef>
              <a:spcAft>
                <a:spcPct val="0"/>
              </a:spcAft>
              <a:defRPr sz="4400" b="1">
                <a:solidFill>
                  <a:schemeClr val="lt1"/>
                </a:solidFill>
                <a:latin typeface="+mn-lt"/>
                <a:ea typeface="+mn-ea"/>
                <a:cs typeface="+mn-cs"/>
              </a:defRPr>
            </a:lvl5pPr>
            <a:lvl6pPr marL="457200" algn="l" rtl="0" eaLnBrk="1" fontAlgn="base" hangingPunct="1">
              <a:lnSpc>
                <a:spcPct val="90000"/>
              </a:lnSpc>
              <a:spcBef>
                <a:spcPct val="0"/>
              </a:spcBef>
              <a:spcAft>
                <a:spcPct val="0"/>
              </a:spcAft>
              <a:defRPr sz="4400" b="1">
                <a:solidFill>
                  <a:schemeClr val="lt1"/>
                </a:solidFill>
                <a:latin typeface="+mn-lt"/>
                <a:ea typeface="+mn-ea"/>
                <a:cs typeface="+mn-cs"/>
              </a:defRPr>
            </a:lvl6pPr>
            <a:lvl7pPr marL="914400" algn="l" rtl="0" eaLnBrk="1" fontAlgn="base" hangingPunct="1">
              <a:lnSpc>
                <a:spcPct val="90000"/>
              </a:lnSpc>
              <a:spcBef>
                <a:spcPct val="0"/>
              </a:spcBef>
              <a:spcAft>
                <a:spcPct val="0"/>
              </a:spcAft>
              <a:defRPr sz="4400" b="1">
                <a:solidFill>
                  <a:schemeClr val="lt1"/>
                </a:solidFill>
                <a:latin typeface="+mn-lt"/>
                <a:ea typeface="+mn-ea"/>
                <a:cs typeface="+mn-cs"/>
              </a:defRPr>
            </a:lvl7pPr>
            <a:lvl8pPr marL="1371600" algn="l" rtl="0" eaLnBrk="1" fontAlgn="base" hangingPunct="1">
              <a:lnSpc>
                <a:spcPct val="90000"/>
              </a:lnSpc>
              <a:spcBef>
                <a:spcPct val="0"/>
              </a:spcBef>
              <a:spcAft>
                <a:spcPct val="0"/>
              </a:spcAft>
              <a:defRPr sz="4400" b="1">
                <a:solidFill>
                  <a:schemeClr val="lt1"/>
                </a:solidFill>
                <a:latin typeface="+mn-lt"/>
                <a:ea typeface="+mn-ea"/>
                <a:cs typeface="+mn-cs"/>
              </a:defRPr>
            </a:lvl8pPr>
            <a:lvl9pPr marL="1828800" algn="l" rtl="0" eaLnBrk="1" fontAlgn="base" hangingPunct="1">
              <a:lnSpc>
                <a:spcPct val="90000"/>
              </a:lnSpc>
              <a:spcBef>
                <a:spcPct val="0"/>
              </a:spcBef>
              <a:spcAft>
                <a:spcPct val="0"/>
              </a:spcAft>
              <a:defRPr sz="4400" b="1">
                <a:solidFill>
                  <a:schemeClr val="lt1"/>
                </a:solidFill>
                <a:latin typeface="+mn-lt"/>
                <a:ea typeface="+mn-ea"/>
                <a:cs typeface="+mn-cs"/>
              </a:defRPr>
            </a:lvl9pPr>
          </a:lstStyle>
          <a:p>
            <a:r>
              <a:rPr lang="en-US" sz="3200" dirty="0">
                <a:latin typeface="+mn-lt"/>
                <a:ea typeface="+mj-ea"/>
                <a:cs typeface="+mj-cs"/>
              </a:rPr>
              <a:t>Technology &amp; Ethics</a:t>
            </a:r>
          </a:p>
        </p:txBody>
      </p:sp>
      <p:cxnSp>
        <p:nvCxnSpPr>
          <p:cNvPr id="7" name="Straight Connector 6">
            <a:extLst>
              <a:ext uri="{FF2B5EF4-FFF2-40B4-BE49-F238E27FC236}">
                <a16:creationId xmlns:a16="http://schemas.microsoft.com/office/drawing/2014/main" id="{90BCDC41-5A3C-1ADB-CE0C-215BF36563B1}"/>
              </a:ext>
            </a:extLst>
          </p:cNvPr>
          <p:cNvCxnSpPr/>
          <p:nvPr/>
        </p:nvCxnSpPr>
        <p:spPr>
          <a:xfrm>
            <a:off x="838200" y="1005840"/>
            <a:ext cx="6998208"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2B85F8F0-25A0-E8D3-010F-2782C395CF21}"/>
              </a:ext>
            </a:extLst>
          </p:cNvPr>
          <p:cNvSpPr txBox="1"/>
          <p:nvPr/>
        </p:nvSpPr>
        <p:spPr>
          <a:xfrm>
            <a:off x="891269" y="1439419"/>
            <a:ext cx="3314177" cy="738664"/>
          </a:xfrm>
          <a:prstGeom prst="rect">
            <a:avLst/>
          </a:prstGeom>
          <a:noFill/>
        </p:spPr>
        <p:txBody>
          <a:bodyPr wrap="none" rtlCol="0">
            <a:spAutoFit/>
          </a:bodyPr>
          <a:lstStyle/>
          <a:p>
            <a:r>
              <a:rPr lang="en-US" sz="2400" b="1" dirty="0">
                <a:latin typeface="+mn-lt"/>
              </a:rPr>
              <a:t>What is engineering for?</a:t>
            </a:r>
          </a:p>
          <a:p>
            <a:endParaRPr lang="en-US" dirty="0"/>
          </a:p>
        </p:txBody>
      </p:sp>
      <p:sp>
        <p:nvSpPr>
          <p:cNvPr id="11" name="TextBox 10">
            <a:extLst>
              <a:ext uri="{FF2B5EF4-FFF2-40B4-BE49-F238E27FC236}">
                <a16:creationId xmlns:a16="http://schemas.microsoft.com/office/drawing/2014/main" id="{AAA7BEA6-A529-086D-F2D3-59E6FEB25A4A}"/>
              </a:ext>
            </a:extLst>
          </p:cNvPr>
          <p:cNvSpPr txBox="1"/>
          <p:nvPr/>
        </p:nvSpPr>
        <p:spPr>
          <a:xfrm>
            <a:off x="1080115" y="2016499"/>
            <a:ext cx="6756293" cy="830997"/>
          </a:xfrm>
          <a:prstGeom prst="rect">
            <a:avLst/>
          </a:prstGeom>
          <a:noFill/>
        </p:spPr>
        <p:txBody>
          <a:bodyPr wrap="square" rtlCol="0">
            <a:spAutoFit/>
          </a:bodyPr>
          <a:lstStyle/>
          <a:p>
            <a:pPr marL="285750" indent="-285750">
              <a:buFont typeface="Arial" panose="020B0604020202020204" pitchFamily="34" charset="0"/>
              <a:buChar char="•"/>
            </a:pPr>
            <a:r>
              <a:rPr lang="en-US" sz="2400" dirty="0"/>
              <a:t>Is it only </a:t>
            </a:r>
            <a:r>
              <a:rPr lang="en-US" sz="2400" b="1" dirty="0"/>
              <a:t>a technical expertise</a:t>
            </a:r>
            <a:r>
              <a:rPr lang="en-US" sz="2400" dirty="0"/>
              <a:t> deployable for whoever needs it and </a:t>
            </a:r>
            <a:r>
              <a:rPr lang="en-US" sz="2400" b="1" dirty="0"/>
              <a:t>has the money to pay for</a:t>
            </a:r>
            <a:r>
              <a:rPr lang="en-US" sz="2400" dirty="0"/>
              <a:t>?</a:t>
            </a:r>
          </a:p>
        </p:txBody>
      </p:sp>
      <p:sp>
        <p:nvSpPr>
          <p:cNvPr id="12" name="TextBox 11">
            <a:extLst>
              <a:ext uri="{FF2B5EF4-FFF2-40B4-BE49-F238E27FC236}">
                <a16:creationId xmlns:a16="http://schemas.microsoft.com/office/drawing/2014/main" id="{B847F842-347E-6DB7-29A3-B62B5D02F4E5}"/>
              </a:ext>
            </a:extLst>
          </p:cNvPr>
          <p:cNvSpPr txBox="1"/>
          <p:nvPr/>
        </p:nvSpPr>
        <p:spPr>
          <a:xfrm>
            <a:off x="1080115" y="3332243"/>
            <a:ext cx="5583452" cy="461665"/>
          </a:xfrm>
          <a:prstGeom prst="rect">
            <a:avLst/>
          </a:prstGeom>
          <a:noFill/>
        </p:spPr>
        <p:txBody>
          <a:bodyPr wrap="none" rtlCol="0">
            <a:spAutoFit/>
          </a:bodyPr>
          <a:lstStyle/>
          <a:p>
            <a:pPr marL="285750" indent="-285750">
              <a:buFont typeface="Arial" panose="020B0604020202020204" pitchFamily="34" charset="0"/>
              <a:buChar char="•"/>
            </a:pPr>
            <a:r>
              <a:rPr lang="en-US" sz="2400" dirty="0"/>
              <a:t>Should it be </a:t>
            </a:r>
            <a:r>
              <a:rPr lang="en-US" sz="2400" b="1" dirty="0"/>
              <a:t>in service of public welfare</a:t>
            </a:r>
            <a:r>
              <a:rPr lang="en-US" sz="2400" dirty="0"/>
              <a:t>?</a:t>
            </a:r>
          </a:p>
        </p:txBody>
      </p:sp>
      <p:sp>
        <p:nvSpPr>
          <p:cNvPr id="14" name="TextBox 13">
            <a:extLst>
              <a:ext uri="{FF2B5EF4-FFF2-40B4-BE49-F238E27FC236}">
                <a16:creationId xmlns:a16="http://schemas.microsoft.com/office/drawing/2014/main" id="{DDD2402F-6FFE-5C5D-39C6-5E5AE20CB489}"/>
              </a:ext>
            </a:extLst>
          </p:cNvPr>
          <p:cNvSpPr txBox="1"/>
          <p:nvPr/>
        </p:nvSpPr>
        <p:spPr>
          <a:xfrm>
            <a:off x="1080115" y="4722266"/>
            <a:ext cx="7845224" cy="830997"/>
          </a:xfrm>
          <a:prstGeom prst="rect">
            <a:avLst/>
          </a:prstGeom>
          <a:noFill/>
        </p:spPr>
        <p:txBody>
          <a:bodyPr wrap="square">
            <a:spAutoFit/>
          </a:bodyPr>
          <a:lstStyle/>
          <a:p>
            <a:r>
              <a:rPr lang="en-US" sz="2400" dirty="0"/>
              <a:t>Engineers, in the fulfillment of their professional duties, shall hold paramount the </a:t>
            </a:r>
            <a:r>
              <a:rPr lang="en-US" sz="2400" b="1" dirty="0"/>
              <a:t>safety</a:t>
            </a:r>
            <a:r>
              <a:rPr lang="en-US" sz="2400" dirty="0"/>
              <a:t>, health, and welfare of the public.</a:t>
            </a:r>
          </a:p>
        </p:txBody>
      </p:sp>
      <p:sp>
        <p:nvSpPr>
          <p:cNvPr id="15" name="TextBox 14">
            <a:extLst>
              <a:ext uri="{FF2B5EF4-FFF2-40B4-BE49-F238E27FC236}">
                <a16:creationId xmlns:a16="http://schemas.microsoft.com/office/drawing/2014/main" id="{8D4C5330-D072-9F58-FC4C-2B97FF2A2641}"/>
              </a:ext>
            </a:extLst>
          </p:cNvPr>
          <p:cNvSpPr txBox="1"/>
          <p:nvPr/>
        </p:nvSpPr>
        <p:spPr>
          <a:xfrm>
            <a:off x="838200" y="4234637"/>
            <a:ext cx="2110962" cy="461665"/>
          </a:xfrm>
          <a:prstGeom prst="rect">
            <a:avLst/>
          </a:prstGeom>
          <a:noFill/>
        </p:spPr>
        <p:txBody>
          <a:bodyPr wrap="none" rtlCol="0">
            <a:spAutoFit/>
          </a:bodyPr>
          <a:lstStyle/>
          <a:p>
            <a:r>
              <a:rPr lang="en-US" sz="2400" b="1" dirty="0">
                <a:latin typeface="+mn-lt"/>
              </a:rPr>
              <a:t>Codes of Ethics</a:t>
            </a:r>
            <a:endParaRPr lang="en-US" dirty="0"/>
          </a:p>
        </p:txBody>
      </p:sp>
      <p:sp>
        <p:nvSpPr>
          <p:cNvPr id="3" name="TextBox 2">
            <a:extLst>
              <a:ext uri="{FF2B5EF4-FFF2-40B4-BE49-F238E27FC236}">
                <a16:creationId xmlns:a16="http://schemas.microsoft.com/office/drawing/2014/main" id="{C250C491-FFD4-2CBC-E5C6-795ACA97774D}"/>
              </a:ext>
            </a:extLst>
          </p:cNvPr>
          <p:cNvSpPr txBox="1"/>
          <p:nvPr/>
        </p:nvSpPr>
        <p:spPr>
          <a:xfrm>
            <a:off x="838200" y="2764691"/>
            <a:ext cx="453970" cy="461665"/>
          </a:xfrm>
          <a:prstGeom prst="rect">
            <a:avLst/>
          </a:prstGeom>
          <a:noFill/>
        </p:spPr>
        <p:txBody>
          <a:bodyPr wrap="none" rtlCol="0">
            <a:spAutoFit/>
          </a:bodyPr>
          <a:lstStyle/>
          <a:p>
            <a:r>
              <a:rPr lang="en-US" sz="2400" dirty="0"/>
              <a:t>or</a:t>
            </a:r>
          </a:p>
        </p:txBody>
      </p:sp>
    </p:spTree>
    <p:extLst>
      <p:ext uri="{BB962C8B-B14F-4D97-AF65-F5344CB8AC3E}">
        <p14:creationId xmlns:p14="http://schemas.microsoft.com/office/powerpoint/2010/main" val="2555781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4FF09A-3CFB-B3AD-238E-55B5CA3EF72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0E2EFB3-A9C9-61CC-1915-5F467C8FA7E0}"/>
              </a:ext>
            </a:extLst>
          </p:cNvPr>
          <p:cNvSpPr>
            <a:spLocks noGrp="1"/>
          </p:cNvSpPr>
          <p:nvPr>
            <p:ph type="title"/>
          </p:nvPr>
        </p:nvSpPr>
        <p:spPr/>
        <p:txBody>
          <a:bodyPr/>
          <a:lstStyle/>
          <a:p>
            <a:endParaRPr lang="en-US"/>
          </a:p>
        </p:txBody>
      </p:sp>
      <p:sp>
        <p:nvSpPr>
          <p:cNvPr id="3" name="Title 1">
            <a:extLst>
              <a:ext uri="{FF2B5EF4-FFF2-40B4-BE49-F238E27FC236}">
                <a16:creationId xmlns:a16="http://schemas.microsoft.com/office/drawing/2014/main" id="{8E24EA7A-9100-8B70-637C-A110CF649BCA}"/>
              </a:ext>
            </a:extLst>
          </p:cNvPr>
          <p:cNvSpPr txBox="1">
            <a:spLocks/>
          </p:cNvSpPr>
          <p:nvPr/>
        </p:nvSpPr>
        <p:spPr bwMode="auto">
          <a:xfrm>
            <a:off x="838200" y="397478"/>
            <a:ext cx="4811382" cy="492443"/>
          </a:xfrm>
          <a:prstGeom prst="rect">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gn="l" rtl="0" eaLnBrk="1" fontAlgn="base" hangingPunct="1">
              <a:lnSpc>
                <a:spcPct val="100000"/>
              </a:lnSpc>
              <a:spcBef>
                <a:spcPct val="0"/>
              </a:spcBef>
              <a:spcAft>
                <a:spcPct val="0"/>
              </a:spcAft>
              <a:defRPr lang="nl-NL" sz="1800" b="1" kern="1200" cap="none" baseline="0">
                <a:solidFill>
                  <a:schemeClr val="accent1"/>
                </a:solidFill>
                <a:latin typeface="+mj-lt"/>
                <a:ea typeface="+mn-ea"/>
                <a:cs typeface="+mn-cs"/>
              </a:defRPr>
            </a:lvl1pPr>
            <a:lvl2pPr algn="l" rtl="0" eaLnBrk="1" fontAlgn="base" hangingPunct="1">
              <a:lnSpc>
                <a:spcPct val="90000"/>
              </a:lnSpc>
              <a:spcBef>
                <a:spcPct val="0"/>
              </a:spcBef>
              <a:spcAft>
                <a:spcPct val="0"/>
              </a:spcAft>
              <a:defRPr sz="4400" b="1">
                <a:solidFill>
                  <a:schemeClr val="lt1"/>
                </a:solidFill>
                <a:latin typeface="+mn-lt"/>
                <a:ea typeface="+mn-ea"/>
                <a:cs typeface="+mn-cs"/>
              </a:defRPr>
            </a:lvl2pPr>
            <a:lvl3pPr algn="l" rtl="0" eaLnBrk="1" fontAlgn="base" hangingPunct="1">
              <a:lnSpc>
                <a:spcPct val="90000"/>
              </a:lnSpc>
              <a:spcBef>
                <a:spcPct val="0"/>
              </a:spcBef>
              <a:spcAft>
                <a:spcPct val="0"/>
              </a:spcAft>
              <a:defRPr sz="4400" b="1">
                <a:solidFill>
                  <a:schemeClr val="lt1"/>
                </a:solidFill>
                <a:latin typeface="+mn-lt"/>
                <a:ea typeface="+mn-ea"/>
                <a:cs typeface="+mn-cs"/>
              </a:defRPr>
            </a:lvl3pPr>
            <a:lvl4pPr algn="l" rtl="0" eaLnBrk="1" fontAlgn="base" hangingPunct="1">
              <a:lnSpc>
                <a:spcPct val="90000"/>
              </a:lnSpc>
              <a:spcBef>
                <a:spcPct val="0"/>
              </a:spcBef>
              <a:spcAft>
                <a:spcPct val="0"/>
              </a:spcAft>
              <a:defRPr sz="4400" b="1">
                <a:solidFill>
                  <a:schemeClr val="lt1"/>
                </a:solidFill>
                <a:latin typeface="+mn-lt"/>
                <a:ea typeface="+mn-ea"/>
                <a:cs typeface="+mn-cs"/>
              </a:defRPr>
            </a:lvl4pPr>
            <a:lvl5pPr algn="l" rtl="0" eaLnBrk="1" fontAlgn="base" hangingPunct="1">
              <a:lnSpc>
                <a:spcPct val="90000"/>
              </a:lnSpc>
              <a:spcBef>
                <a:spcPct val="0"/>
              </a:spcBef>
              <a:spcAft>
                <a:spcPct val="0"/>
              </a:spcAft>
              <a:defRPr sz="4400" b="1">
                <a:solidFill>
                  <a:schemeClr val="lt1"/>
                </a:solidFill>
                <a:latin typeface="+mn-lt"/>
                <a:ea typeface="+mn-ea"/>
                <a:cs typeface="+mn-cs"/>
              </a:defRPr>
            </a:lvl5pPr>
            <a:lvl6pPr marL="457200" algn="l" rtl="0" eaLnBrk="1" fontAlgn="base" hangingPunct="1">
              <a:lnSpc>
                <a:spcPct val="90000"/>
              </a:lnSpc>
              <a:spcBef>
                <a:spcPct val="0"/>
              </a:spcBef>
              <a:spcAft>
                <a:spcPct val="0"/>
              </a:spcAft>
              <a:defRPr sz="4400" b="1">
                <a:solidFill>
                  <a:schemeClr val="lt1"/>
                </a:solidFill>
                <a:latin typeface="+mn-lt"/>
                <a:ea typeface="+mn-ea"/>
                <a:cs typeface="+mn-cs"/>
              </a:defRPr>
            </a:lvl6pPr>
            <a:lvl7pPr marL="914400" algn="l" rtl="0" eaLnBrk="1" fontAlgn="base" hangingPunct="1">
              <a:lnSpc>
                <a:spcPct val="90000"/>
              </a:lnSpc>
              <a:spcBef>
                <a:spcPct val="0"/>
              </a:spcBef>
              <a:spcAft>
                <a:spcPct val="0"/>
              </a:spcAft>
              <a:defRPr sz="4400" b="1">
                <a:solidFill>
                  <a:schemeClr val="lt1"/>
                </a:solidFill>
                <a:latin typeface="+mn-lt"/>
                <a:ea typeface="+mn-ea"/>
                <a:cs typeface="+mn-cs"/>
              </a:defRPr>
            </a:lvl7pPr>
            <a:lvl8pPr marL="1371600" algn="l" rtl="0" eaLnBrk="1" fontAlgn="base" hangingPunct="1">
              <a:lnSpc>
                <a:spcPct val="90000"/>
              </a:lnSpc>
              <a:spcBef>
                <a:spcPct val="0"/>
              </a:spcBef>
              <a:spcAft>
                <a:spcPct val="0"/>
              </a:spcAft>
              <a:defRPr sz="4400" b="1">
                <a:solidFill>
                  <a:schemeClr val="lt1"/>
                </a:solidFill>
                <a:latin typeface="+mn-lt"/>
                <a:ea typeface="+mn-ea"/>
                <a:cs typeface="+mn-cs"/>
              </a:defRPr>
            </a:lvl8pPr>
            <a:lvl9pPr marL="1828800" algn="l" rtl="0" eaLnBrk="1" fontAlgn="base" hangingPunct="1">
              <a:lnSpc>
                <a:spcPct val="90000"/>
              </a:lnSpc>
              <a:spcBef>
                <a:spcPct val="0"/>
              </a:spcBef>
              <a:spcAft>
                <a:spcPct val="0"/>
              </a:spcAft>
              <a:defRPr sz="4400" b="1">
                <a:solidFill>
                  <a:schemeClr val="lt1"/>
                </a:solidFill>
                <a:latin typeface="+mn-lt"/>
                <a:ea typeface="+mn-ea"/>
                <a:cs typeface="+mn-cs"/>
              </a:defRPr>
            </a:lvl9pPr>
          </a:lstStyle>
          <a:p>
            <a:r>
              <a:rPr lang="en-US" sz="3200" dirty="0">
                <a:latin typeface="+mn-lt"/>
                <a:ea typeface="+mj-ea"/>
                <a:cs typeface="+mj-cs"/>
              </a:rPr>
              <a:t>Safety Technologies &amp; Ethics</a:t>
            </a:r>
          </a:p>
        </p:txBody>
      </p:sp>
      <p:cxnSp>
        <p:nvCxnSpPr>
          <p:cNvPr id="4" name="Straight Connector 3">
            <a:extLst>
              <a:ext uri="{FF2B5EF4-FFF2-40B4-BE49-F238E27FC236}">
                <a16:creationId xmlns:a16="http://schemas.microsoft.com/office/drawing/2014/main" id="{B4A88964-8941-4073-A50D-93820A32C19D}"/>
              </a:ext>
            </a:extLst>
          </p:cNvPr>
          <p:cNvCxnSpPr>
            <a:cxnSpLocks/>
          </p:cNvCxnSpPr>
          <p:nvPr/>
        </p:nvCxnSpPr>
        <p:spPr>
          <a:xfrm>
            <a:off x="838200" y="1005840"/>
            <a:ext cx="5174974"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9DA84C6-8D66-2E7D-4B42-C6DCEE7C88FE}"/>
              </a:ext>
            </a:extLst>
          </p:cNvPr>
          <p:cNvSpPr txBox="1"/>
          <p:nvPr/>
        </p:nvSpPr>
        <p:spPr>
          <a:xfrm>
            <a:off x="838200" y="1320150"/>
            <a:ext cx="6626087" cy="1107996"/>
          </a:xfrm>
          <a:prstGeom prst="rect">
            <a:avLst/>
          </a:prstGeom>
          <a:noFill/>
        </p:spPr>
        <p:txBody>
          <a:bodyPr wrap="square" lIns="91440" tIns="45720" rIns="91440" bIns="45720" rtlCol="0" anchor="t">
            <a:spAutoFit/>
          </a:bodyPr>
          <a:lstStyle/>
          <a:p>
            <a:r>
              <a:rPr lang="en-US" sz="2400" b="1" dirty="0">
                <a:latin typeface="+mn-lt"/>
              </a:rPr>
              <a:t>What can ethics say about technologies that are essentially aimed at improving safety?</a:t>
            </a:r>
          </a:p>
          <a:p>
            <a:endParaRPr lang="en-US" dirty="0"/>
          </a:p>
        </p:txBody>
      </p:sp>
      <p:pic>
        <p:nvPicPr>
          <p:cNvPr id="1026" name="Picture 2" descr="Crash test dummy - Wikipedia">
            <a:extLst>
              <a:ext uri="{FF2B5EF4-FFF2-40B4-BE49-F238E27FC236}">
                <a16:creationId xmlns:a16="http://schemas.microsoft.com/office/drawing/2014/main" id="{430642F1-AE22-EBD3-4F6A-CA69A320D8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17635" y="3779853"/>
            <a:ext cx="3777215" cy="252164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8488457-672F-7FB4-7B0C-04899BB643B2}"/>
              </a:ext>
            </a:extLst>
          </p:cNvPr>
          <p:cNvSpPr txBox="1"/>
          <p:nvPr/>
        </p:nvSpPr>
        <p:spPr>
          <a:xfrm>
            <a:off x="1225826" y="2241628"/>
            <a:ext cx="5572540" cy="1723549"/>
          </a:xfrm>
          <a:prstGeom prst="rect">
            <a:avLst/>
          </a:prstGeom>
          <a:noFill/>
        </p:spPr>
        <p:txBody>
          <a:bodyPr wrap="square" rtlCol="0">
            <a:spAutoFit/>
          </a:bodyPr>
          <a:lstStyle/>
          <a:p>
            <a:pPr marL="342900" indent="-342900">
              <a:spcAft>
                <a:spcPts val="600"/>
              </a:spcAft>
              <a:buFont typeface="Arial" panose="020B0604020202020204" pitchFamily="34" charset="0"/>
              <a:buChar char="•"/>
            </a:pPr>
            <a:r>
              <a:rPr lang="en-US" sz="2400" dirty="0"/>
              <a:t>Guide the advancement of technology to be based on societally shared values</a:t>
            </a:r>
          </a:p>
          <a:p>
            <a:pPr marL="342900" indent="-342900">
              <a:spcAft>
                <a:spcPts val="600"/>
              </a:spcAft>
              <a:buFont typeface="Arial" panose="020B0604020202020204" pitchFamily="34" charset="0"/>
              <a:buChar char="•"/>
            </a:pPr>
            <a:r>
              <a:rPr lang="en-US" sz="2400" dirty="0"/>
              <a:t>Protect against the misuse of technology</a:t>
            </a:r>
          </a:p>
          <a:p>
            <a:pPr marL="342900" indent="-342900">
              <a:spcAft>
                <a:spcPts val="600"/>
              </a:spcAft>
              <a:buFont typeface="Arial" panose="020B0604020202020204" pitchFamily="34" charset="0"/>
              <a:buChar char="•"/>
            </a:pPr>
            <a:endParaRPr lang="en-US" sz="2400" dirty="0"/>
          </a:p>
        </p:txBody>
      </p:sp>
      <p:pic>
        <p:nvPicPr>
          <p:cNvPr id="10" name="Picture 9">
            <a:extLst>
              <a:ext uri="{FF2B5EF4-FFF2-40B4-BE49-F238E27FC236}">
                <a16:creationId xmlns:a16="http://schemas.microsoft.com/office/drawing/2014/main" id="{411EE891-D037-8A58-5D67-8505C9EA1187}"/>
              </a:ext>
            </a:extLst>
          </p:cNvPr>
          <p:cNvPicPr>
            <a:picLocks noChangeAspect="1"/>
          </p:cNvPicPr>
          <p:nvPr/>
        </p:nvPicPr>
        <p:blipFill>
          <a:blip r:embed="rId4"/>
          <a:srcRect l="2673" t="6200" r="45096"/>
          <a:stretch>
            <a:fillRect/>
          </a:stretch>
        </p:blipFill>
        <p:spPr>
          <a:xfrm>
            <a:off x="9125776" y="1047476"/>
            <a:ext cx="2603819" cy="3090224"/>
          </a:xfrm>
          <a:prstGeom prst="rect">
            <a:avLst/>
          </a:prstGeom>
        </p:spPr>
      </p:pic>
      <p:sp>
        <p:nvSpPr>
          <p:cNvPr id="11" name="Tijdelijke aanduiding voor tekst 5">
            <a:extLst>
              <a:ext uri="{FF2B5EF4-FFF2-40B4-BE49-F238E27FC236}">
                <a16:creationId xmlns:a16="http://schemas.microsoft.com/office/drawing/2014/main" id="{8D1BA685-86FC-020F-4FBB-0E2F397BB40C}"/>
              </a:ext>
            </a:extLst>
          </p:cNvPr>
          <p:cNvSpPr txBox="1"/>
          <p:nvPr/>
        </p:nvSpPr>
        <p:spPr>
          <a:xfrm>
            <a:off x="891268" y="4097456"/>
            <a:ext cx="5668557"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pPr lvl="0">
              <a:buClr>
                <a:srgbClr val="556A85"/>
              </a:buClr>
            </a:pPr>
            <a:r>
              <a:rPr lang="nl-NL" dirty="0" err="1">
                <a:solidFill>
                  <a:schemeClr val="tx1"/>
                </a:solidFill>
              </a:rPr>
              <a:t>Particularly</a:t>
            </a:r>
            <a:r>
              <a:rPr lang="nl-NL" dirty="0">
                <a:solidFill>
                  <a:schemeClr val="tx1"/>
                </a:solidFill>
              </a:rPr>
              <a:t>, </a:t>
            </a:r>
            <a:r>
              <a:rPr lang="nl-NL" b="1" dirty="0" err="1">
                <a:solidFill>
                  <a:schemeClr val="tx1"/>
                </a:solidFill>
              </a:rPr>
              <a:t>safety</a:t>
            </a:r>
            <a:r>
              <a:rPr lang="nl-NL" b="1" dirty="0">
                <a:solidFill>
                  <a:prstClr val="black"/>
                </a:solidFill>
              </a:rPr>
              <a:t> </a:t>
            </a:r>
            <a:r>
              <a:rPr lang="nl-NL" dirty="0">
                <a:solidFill>
                  <a:prstClr val="black"/>
                </a:solidFill>
              </a:rPr>
              <a:t>as </a:t>
            </a:r>
            <a:r>
              <a:rPr lang="nl-NL" dirty="0" err="1">
                <a:solidFill>
                  <a:prstClr val="black"/>
                </a:solidFill>
              </a:rPr>
              <a:t>the</a:t>
            </a:r>
            <a:r>
              <a:rPr lang="nl-NL" dirty="0">
                <a:solidFill>
                  <a:prstClr val="black"/>
                </a:solidFill>
              </a:rPr>
              <a:t> ultimate goal </a:t>
            </a:r>
            <a:r>
              <a:rPr lang="nl-NL" dirty="0" err="1">
                <a:solidFill>
                  <a:prstClr val="black"/>
                </a:solidFill>
              </a:rPr>
              <a:t>may</a:t>
            </a:r>
            <a:endParaRPr kumimoji="0" lang="en-GB" sz="2400" i="0" u="none" strike="noStrike" kern="1200" cap="none" spc="0" normalizeH="0" baseline="0" noProof="0" dirty="0">
              <a:ln>
                <a:noFill/>
              </a:ln>
              <a:solidFill>
                <a:prstClr val="black"/>
              </a:solidFill>
              <a:effectLst/>
              <a:uLnTx/>
              <a:uFillTx/>
              <a:latin typeface="Calibri" panose="020F0502020204030204"/>
            </a:endParaRPr>
          </a:p>
        </p:txBody>
      </p:sp>
      <p:sp>
        <p:nvSpPr>
          <p:cNvPr id="13" name="Rechthoek 35">
            <a:extLst>
              <a:ext uri="{FF2B5EF4-FFF2-40B4-BE49-F238E27FC236}">
                <a16:creationId xmlns:a16="http://schemas.microsoft.com/office/drawing/2014/main" id="{AE05A0A0-FA49-C0FA-1FA1-C1066E83951C}"/>
              </a:ext>
            </a:extLst>
          </p:cNvPr>
          <p:cNvSpPr/>
          <p:nvPr/>
        </p:nvSpPr>
        <p:spPr>
          <a:xfrm>
            <a:off x="278295" y="4849174"/>
            <a:ext cx="5446643" cy="10294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marL="342900" marR="0" lvl="0" indent="-342900" algn="l" defTabSz="914400" rtl="0" eaLnBrk="1" fontAlgn="auto" latinLnBrk="0" hangingPunct="1">
              <a:lnSpc>
                <a:spcPct val="150000"/>
              </a:lnSpc>
              <a:spcBef>
                <a:spcPts val="0"/>
              </a:spcBef>
              <a:spcAft>
                <a:spcPts val="0"/>
              </a:spcAft>
              <a:buClr>
                <a:schemeClr val="tx1"/>
              </a:buClr>
              <a:buSzTx/>
              <a:buFont typeface="Arial" panose="020B0604020202020204" pitchFamily="34" charset="0"/>
              <a:buChar char="•"/>
              <a:tabLst/>
              <a:defRPr/>
            </a:pPr>
            <a:r>
              <a:rPr lang="nl-NL" sz="2400" b="1" dirty="0">
                <a:solidFill>
                  <a:prstClr val="black"/>
                </a:solidFill>
                <a:latin typeface="Calibri" panose="020F0502020204030204"/>
              </a:rPr>
              <a:t>Delay</a:t>
            </a:r>
            <a:r>
              <a:rPr lang="nl-NL" sz="2400" dirty="0">
                <a:solidFill>
                  <a:prstClr val="black"/>
                </a:solidFill>
                <a:latin typeface="Calibri" panose="020F0502020204030204"/>
              </a:rPr>
              <a:t> </a:t>
            </a:r>
            <a:r>
              <a:rPr lang="nl-NL" sz="2400" dirty="0" err="1">
                <a:solidFill>
                  <a:prstClr val="black"/>
                </a:solidFill>
                <a:latin typeface="Calibri" panose="020F0502020204030204"/>
              </a:rPr>
              <a:t>critical</a:t>
            </a:r>
            <a:r>
              <a:rPr lang="nl-NL" sz="2400" dirty="0">
                <a:solidFill>
                  <a:prstClr val="black"/>
                </a:solidFill>
                <a:latin typeface="Calibri" panose="020F0502020204030204"/>
              </a:rPr>
              <a:t> </a:t>
            </a:r>
            <a:r>
              <a:rPr lang="nl-NL" sz="2400" dirty="0" err="1">
                <a:solidFill>
                  <a:prstClr val="black"/>
                </a:solidFill>
                <a:latin typeface="Calibri" panose="020F0502020204030204"/>
              </a:rPr>
              <a:t>reflection</a:t>
            </a:r>
            <a:endParaRPr lang="nl-NL" sz="2400" dirty="0">
              <a:solidFill>
                <a:prstClr val="black"/>
              </a:solidFill>
              <a:latin typeface="Calibri" panose="020F0502020204030204"/>
            </a:endParaRPr>
          </a:p>
          <a:p>
            <a:pPr marL="342900" indent="-342900" eaLnBrk="1" fontAlgn="auto" hangingPunct="1">
              <a:lnSpc>
                <a:spcPct val="150000"/>
              </a:lnSpc>
              <a:spcBef>
                <a:spcPts val="0"/>
              </a:spcBef>
              <a:spcAft>
                <a:spcPts val="0"/>
              </a:spcAft>
              <a:buClr>
                <a:schemeClr val="tx1"/>
              </a:buClr>
              <a:buFont typeface="Arial" panose="020B0604020202020204" pitchFamily="34" charset="0"/>
              <a:buChar char="•"/>
              <a:defRPr/>
            </a:pPr>
            <a:r>
              <a:rPr lang="nl-NL" sz="2400" dirty="0" err="1">
                <a:solidFill>
                  <a:prstClr val="black"/>
                </a:solidFill>
              </a:rPr>
              <a:t>Allow</a:t>
            </a:r>
            <a:r>
              <a:rPr lang="nl-NL" sz="2400" dirty="0">
                <a:solidFill>
                  <a:prstClr val="black"/>
                </a:solidFill>
              </a:rPr>
              <a:t> </a:t>
            </a:r>
            <a:r>
              <a:rPr lang="nl-NL" sz="2400" dirty="0" err="1">
                <a:solidFill>
                  <a:prstClr val="black"/>
                </a:solidFill>
              </a:rPr>
              <a:t>easier</a:t>
            </a:r>
            <a:r>
              <a:rPr lang="nl-NL" sz="2400" dirty="0">
                <a:solidFill>
                  <a:prstClr val="black"/>
                </a:solidFill>
              </a:rPr>
              <a:t> </a:t>
            </a:r>
            <a:r>
              <a:rPr lang="nl-NL" sz="2400" b="1" dirty="0" err="1">
                <a:solidFill>
                  <a:prstClr val="black"/>
                </a:solidFill>
              </a:rPr>
              <a:t>justifications</a:t>
            </a:r>
            <a:endParaRPr lang="nl-NL" sz="2400" b="1" dirty="0">
              <a:solidFill>
                <a:prstClr val="black"/>
              </a:solidFill>
            </a:endParaRPr>
          </a:p>
          <a:p>
            <a:pPr marL="342900" marR="0" lvl="0" indent="-342900" algn="l" defTabSz="914400" rtl="0" eaLnBrk="1" fontAlgn="auto" latinLnBrk="0" hangingPunct="1">
              <a:lnSpc>
                <a:spcPct val="150000"/>
              </a:lnSpc>
              <a:spcBef>
                <a:spcPts val="0"/>
              </a:spcBef>
              <a:spcAft>
                <a:spcPts val="0"/>
              </a:spcAft>
              <a:buClr>
                <a:schemeClr val="tx1"/>
              </a:buClr>
              <a:buSzTx/>
              <a:buFont typeface="Arial" panose="020B0604020202020204" pitchFamily="34" charset="0"/>
              <a:buChar char="•"/>
              <a:tabLst/>
              <a:defRPr/>
            </a:pPr>
            <a:endParaRPr lang="en-US" sz="2400" dirty="0">
              <a:solidFill>
                <a:prstClr val="black"/>
              </a:solidFill>
              <a:latin typeface="Calibri" panose="020F0502020204030204"/>
            </a:endParaRPr>
          </a:p>
        </p:txBody>
      </p:sp>
    </p:spTree>
    <p:extLst>
      <p:ext uri="{BB962C8B-B14F-4D97-AF65-F5344CB8AC3E}">
        <p14:creationId xmlns:p14="http://schemas.microsoft.com/office/powerpoint/2010/main" val="3987796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500"/>
                                        <p:tgtEl>
                                          <p:spTgt spid="11">
                                            <p:txEl>
                                              <p:pRg st="0" end="0"/>
                                            </p:txEl>
                                          </p:spTgt>
                                        </p:tgtEl>
                                      </p:cBhvr>
                                    </p:animEffect>
                                  </p:childTnLst>
                                </p:cTn>
                              </p:par>
                              <p:par>
                                <p:cTn id="8" presetID="2" presetClass="entr" presetSubtype="2" decel="10000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1000" fill="hold"/>
                                        <p:tgtEl>
                                          <p:spTgt spid="13"/>
                                        </p:tgtEl>
                                        <p:attrNameLst>
                                          <p:attrName>ppt_x</p:attrName>
                                        </p:attrNameLst>
                                      </p:cBhvr>
                                      <p:tavLst>
                                        <p:tav tm="0">
                                          <p:val>
                                            <p:strVal val="1+#ppt_w/2"/>
                                          </p:val>
                                        </p:tav>
                                        <p:tav tm="100000">
                                          <p:val>
                                            <p:strVal val="#ppt_x"/>
                                          </p:val>
                                        </p:tav>
                                      </p:tavLst>
                                    </p:anim>
                                    <p:anim calcmode="lin" valueType="num">
                                      <p:cBhvr additive="base">
                                        <p:cTn id="11" dur="10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P spid="1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VORM">
            <a:extLst>
              <a:ext uri="{FF2B5EF4-FFF2-40B4-BE49-F238E27FC236}">
                <a16:creationId xmlns:a16="http://schemas.microsoft.com/office/drawing/2014/main" id="{EDDEFA68-0085-17BB-A875-D6D1DE572954}"/>
              </a:ext>
            </a:extLst>
          </p:cNvPr>
          <p:cNvGrpSpPr/>
          <p:nvPr/>
        </p:nvGrpSpPr>
        <p:grpSpPr>
          <a:xfrm>
            <a:off x="-2637331" y="0"/>
            <a:ext cx="8373762" cy="6858000"/>
            <a:chOff x="3818239" y="-1"/>
            <a:chExt cx="8373762" cy="6857999"/>
          </a:xfrm>
        </p:grpSpPr>
        <p:sp>
          <p:nvSpPr>
            <p:cNvPr id="19" name="Rechthoek 18">
              <a:extLst>
                <a:ext uri="{FF2B5EF4-FFF2-40B4-BE49-F238E27FC236}">
                  <a16:creationId xmlns:a16="http://schemas.microsoft.com/office/drawing/2014/main" id="{E8556B67-E8B0-1AD0-4BFD-11E23CDE9CC1}"/>
                </a:ext>
              </a:extLst>
            </p:cNvPr>
            <p:cNvSpPr/>
            <p:nvPr/>
          </p:nvSpPr>
          <p:spPr>
            <a:xfrm>
              <a:off x="3818239" y="-1"/>
              <a:ext cx="8373761" cy="6857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29" name="Vrije vorm 28">
              <a:extLst>
                <a:ext uri="{FF2B5EF4-FFF2-40B4-BE49-F238E27FC236}">
                  <a16:creationId xmlns:a16="http://schemas.microsoft.com/office/drawing/2014/main" id="{39352095-AE74-6BFD-6388-D6B17843437D}"/>
                </a:ext>
              </a:extLst>
            </p:cNvPr>
            <p:cNvSpPr>
              <a:spLocks/>
            </p:cNvSpPr>
            <p:nvPr/>
          </p:nvSpPr>
          <p:spPr>
            <a:xfrm>
              <a:off x="3818240" y="-1"/>
              <a:ext cx="8373761"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err="1"/>
            </a:p>
          </p:txBody>
        </p:sp>
      </p:grpSp>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a:t>Chapter | dark mode</a:t>
            </a:r>
          </a:p>
        </p:txBody>
      </p:sp>
      <p:sp>
        <p:nvSpPr>
          <p:cNvPr id="3" name="Rechthoek 1">
            <a:extLst>
              <a:ext uri="{FF2B5EF4-FFF2-40B4-BE49-F238E27FC236}">
                <a16:creationId xmlns:a16="http://schemas.microsoft.com/office/drawing/2014/main" id="{D3B2300C-10FF-B1F4-19D3-E082A9CD38CA}"/>
              </a:ext>
            </a:extLst>
          </p:cNvPr>
          <p:cNvSpPr>
            <a:spLocks/>
          </p:cNvSpPr>
          <p:nvPr/>
        </p:nvSpPr>
        <p:spPr>
          <a:xfrm>
            <a:off x="719138" y="2249377"/>
            <a:ext cx="5609281" cy="29414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4" name="Tijdelijke aanduiding voor tekst 3">
            <a:extLst>
              <a:ext uri="{FF2B5EF4-FFF2-40B4-BE49-F238E27FC236}">
                <a16:creationId xmlns:a16="http://schemas.microsoft.com/office/drawing/2014/main" id="{F67AB7C9-5A4E-D270-51F5-38030F128EAD}"/>
              </a:ext>
            </a:extLst>
          </p:cNvPr>
          <p:cNvSpPr txBox="1">
            <a:spLocks/>
          </p:cNvSpPr>
          <p:nvPr/>
        </p:nvSpPr>
        <p:spPr>
          <a:xfrm>
            <a:off x="1184679" y="2498732"/>
            <a:ext cx="5288703" cy="666849"/>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a:latin typeface="Arial" panose="020B0604020202020204" pitchFamily="34" charset="0"/>
                <a:cs typeface="Arial" panose="020B0604020202020204" pitchFamily="34" charset="0"/>
              </a:rPr>
              <a:t>Responsibility</a:t>
            </a:r>
          </a:p>
        </p:txBody>
      </p:sp>
      <p:sp>
        <p:nvSpPr>
          <p:cNvPr id="5" name="Tijdelijke aanduiding voor tekst 5">
            <a:extLst>
              <a:ext uri="{FF2B5EF4-FFF2-40B4-BE49-F238E27FC236}">
                <a16:creationId xmlns:a16="http://schemas.microsoft.com/office/drawing/2014/main" id="{91FE0693-C6BB-2856-B53E-E4143078F76C}"/>
              </a:ext>
            </a:extLst>
          </p:cNvPr>
          <p:cNvSpPr txBox="1">
            <a:spLocks/>
          </p:cNvSpPr>
          <p:nvPr/>
        </p:nvSpPr>
        <p:spPr>
          <a:xfrm>
            <a:off x="1184679" y="3436467"/>
            <a:ext cx="4107757" cy="1483483"/>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pPr marL="342900" indent="-342900">
              <a:buClr>
                <a:schemeClr val="bg1"/>
              </a:buClr>
              <a:buSzPct val="130000"/>
              <a:buFont typeface="Arial" panose="020B0604020202020204" pitchFamily="34" charset="0"/>
              <a:buChar char="•"/>
            </a:pPr>
            <a:r>
              <a:rPr lang="en-US"/>
              <a:t>Knowing respective obligations to fulfill them </a:t>
            </a:r>
          </a:p>
          <a:p>
            <a:pPr marL="342900" indent="-342900">
              <a:buClr>
                <a:schemeClr val="bg1"/>
              </a:buClr>
              <a:buSzPct val="130000"/>
              <a:buFont typeface="Arial" panose="020B0604020202020204" pitchFamily="34" charset="0"/>
              <a:buChar char="•"/>
            </a:pPr>
            <a:r>
              <a:rPr lang="en-US"/>
              <a:t>Being held culpable for undesirable outcomes</a:t>
            </a:r>
          </a:p>
        </p:txBody>
      </p:sp>
      <p:sp>
        <p:nvSpPr>
          <p:cNvPr id="6" name="Tijdelijke aanduiding voor tekst 5">
            <a:extLst>
              <a:ext uri="{FF2B5EF4-FFF2-40B4-BE49-F238E27FC236}">
                <a16:creationId xmlns:a16="http://schemas.microsoft.com/office/drawing/2014/main" id="{285E8984-3F25-C0EF-30BF-B4FCFC8C0885}"/>
              </a:ext>
            </a:extLst>
          </p:cNvPr>
          <p:cNvSpPr txBox="1"/>
          <p:nvPr/>
        </p:nvSpPr>
        <p:spPr>
          <a:xfrm>
            <a:off x="8155903" y="4434934"/>
            <a:ext cx="3304577" cy="664797"/>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US">
                <a:solidFill>
                  <a:schemeClr val="tx1"/>
                </a:solidFill>
              </a:rPr>
              <a:t>Developed by a complex network of actors</a:t>
            </a:r>
            <a:endParaRPr lang="en-GB">
              <a:solidFill>
                <a:schemeClr val="tx1"/>
              </a:solidFill>
            </a:endParaRPr>
          </a:p>
        </p:txBody>
      </p:sp>
      <p:sp>
        <p:nvSpPr>
          <p:cNvPr id="10" name="Tijdelijke aanduiding voor tekst 5">
            <a:extLst>
              <a:ext uri="{FF2B5EF4-FFF2-40B4-BE49-F238E27FC236}">
                <a16:creationId xmlns:a16="http://schemas.microsoft.com/office/drawing/2014/main" id="{D783BA6A-697C-4B50-CCAF-176AC6952BC7}"/>
              </a:ext>
            </a:extLst>
          </p:cNvPr>
          <p:cNvSpPr txBox="1"/>
          <p:nvPr/>
        </p:nvSpPr>
        <p:spPr>
          <a:xfrm>
            <a:off x="8155903" y="2587493"/>
            <a:ext cx="3316959" cy="664797"/>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US">
                <a:solidFill>
                  <a:schemeClr val="tx1"/>
                </a:solidFill>
              </a:rPr>
              <a:t>Demand collective action of a large group of actors</a:t>
            </a:r>
            <a:endParaRPr lang="en-GB" sz="2000">
              <a:solidFill>
                <a:schemeClr val="tx1"/>
              </a:solidFill>
            </a:endParaRPr>
          </a:p>
        </p:txBody>
      </p:sp>
      <p:sp>
        <p:nvSpPr>
          <p:cNvPr id="15" name="Tijdelijke aanduiding voor tekst 5">
            <a:extLst>
              <a:ext uri="{FF2B5EF4-FFF2-40B4-BE49-F238E27FC236}">
                <a16:creationId xmlns:a16="http://schemas.microsoft.com/office/drawing/2014/main" id="{35B40E1B-C4C5-A55B-5B7D-9D1689935EBF}"/>
              </a:ext>
            </a:extLst>
          </p:cNvPr>
          <p:cNvSpPr txBox="1"/>
          <p:nvPr/>
        </p:nvSpPr>
        <p:spPr>
          <a:xfrm>
            <a:off x="6745006" y="1035322"/>
            <a:ext cx="3548417"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b="1" dirty="0">
                <a:solidFill>
                  <a:schemeClr val="tx1"/>
                </a:solidFill>
              </a:rPr>
              <a:t>Road Transport Systems:</a:t>
            </a:r>
          </a:p>
        </p:txBody>
      </p:sp>
      <p:sp>
        <p:nvSpPr>
          <p:cNvPr id="16" name="Tijdelijke aanduiding voor tekst 5">
            <a:extLst>
              <a:ext uri="{FF2B5EF4-FFF2-40B4-BE49-F238E27FC236}">
                <a16:creationId xmlns:a16="http://schemas.microsoft.com/office/drawing/2014/main" id="{2B79FB6C-73EF-2E7F-1313-37A4B8730B3C}"/>
              </a:ext>
            </a:extLst>
          </p:cNvPr>
          <p:cNvSpPr txBox="1"/>
          <p:nvPr/>
        </p:nvSpPr>
        <p:spPr>
          <a:xfrm>
            <a:off x="6745006" y="3781678"/>
            <a:ext cx="3548417"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b="1">
                <a:solidFill>
                  <a:schemeClr val="tx1"/>
                </a:solidFill>
              </a:rPr>
              <a:t>AI Systems:</a:t>
            </a:r>
          </a:p>
        </p:txBody>
      </p:sp>
      <p:grpSp>
        <p:nvGrpSpPr>
          <p:cNvPr id="17" name="Group 16">
            <a:extLst>
              <a:ext uri="{FF2B5EF4-FFF2-40B4-BE49-F238E27FC236}">
                <a16:creationId xmlns:a16="http://schemas.microsoft.com/office/drawing/2014/main" id="{95A62689-C7AC-FFE9-F6F6-AE74435FA93C}"/>
              </a:ext>
            </a:extLst>
          </p:cNvPr>
          <p:cNvGrpSpPr/>
          <p:nvPr/>
        </p:nvGrpSpPr>
        <p:grpSpPr>
          <a:xfrm>
            <a:off x="7176987" y="4407860"/>
            <a:ext cx="718417" cy="665116"/>
            <a:chOff x="4166703" y="4278796"/>
            <a:chExt cx="750342" cy="694672"/>
          </a:xfrm>
        </p:grpSpPr>
        <p:sp>
          <p:nvSpPr>
            <p:cNvPr id="18" name="Freeform: Shape 17">
              <a:extLst>
                <a:ext uri="{FF2B5EF4-FFF2-40B4-BE49-F238E27FC236}">
                  <a16:creationId xmlns:a16="http://schemas.microsoft.com/office/drawing/2014/main" id="{46273F5A-70DF-865F-24B9-2627126201C5}"/>
                </a:ext>
              </a:extLst>
            </p:cNvPr>
            <p:cNvSpPr/>
            <p:nvPr/>
          </p:nvSpPr>
          <p:spPr>
            <a:xfrm>
              <a:off x="4370665" y="4626831"/>
              <a:ext cx="346622" cy="346637"/>
            </a:xfrm>
            <a:custGeom>
              <a:avLst/>
              <a:gdLst>
                <a:gd name="csX0" fmla="*/ 252771 w 346622"/>
                <a:gd name="csY0" fmla="*/ 21541 h 346637"/>
                <a:gd name="csX1" fmla="*/ 247035 w 346622"/>
                <a:gd name="csY1" fmla="*/ 31196 h 346637"/>
                <a:gd name="csX2" fmla="*/ 241328 w 346622"/>
                <a:gd name="csY2" fmla="*/ 44177 h 346637"/>
                <a:gd name="csX3" fmla="*/ 225018 w 346622"/>
                <a:gd name="csY3" fmla="*/ 47902 h 346637"/>
                <a:gd name="csX4" fmla="*/ 173267 w 346622"/>
                <a:gd name="csY4" fmla="*/ 5365 h 346637"/>
                <a:gd name="csX5" fmla="*/ 140234 w 346622"/>
                <a:gd name="csY5" fmla="*/ 8593 h 346637"/>
                <a:gd name="csX6" fmla="*/ 97960 w 346622"/>
                <a:gd name="csY6" fmla="*/ 60025 h 346637"/>
                <a:gd name="csX7" fmla="*/ 81572 w 346622"/>
                <a:gd name="csY7" fmla="*/ 59802 h 346637"/>
                <a:gd name="csX8" fmla="*/ 73461 w 346622"/>
                <a:gd name="csY8" fmla="*/ 48172 h 346637"/>
                <a:gd name="csX9" fmla="*/ 57910 w 346622"/>
                <a:gd name="csY9" fmla="*/ 34830 h 346637"/>
                <a:gd name="csX10" fmla="*/ 22806 w 346622"/>
                <a:gd name="csY10" fmla="*/ 38556 h 346637"/>
                <a:gd name="csX11" fmla="*/ 21267 w 346622"/>
                <a:gd name="csY11" fmla="*/ 94189 h 346637"/>
                <a:gd name="csX12" fmla="*/ 30923 w 346622"/>
                <a:gd name="csY12" fmla="*/ 99925 h 346637"/>
                <a:gd name="csX13" fmla="*/ 43903 w 346622"/>
                <a:gd name="csY13" fmla="*/ 105631 h 346637"/>
                <a:gd name="csX14" fmla="*/ 47629 w 346622"/>
                <a:gd name="csY14" fmla="*/ 121942 h 346637"/>
                <a:gd name="csX15" fmla="*/ 5365 w 346622"/>
                <a:gd name="csY15" fmla="*/ 173360 h 346637"/>
                <a:gd name="csX16" fmla="*/ 8593 w 346622"/>
                <a:gd name="csY16" fmla="*/ 206393 h 346637"/>
                <a:gd name="csX17" fmla="*/ 60025 w 346622"/>
                <a:gd name="csY17" fmla="*/ 248667 h 346637"/>
                <a:gd name="csX18" fmla="*/ 59802 w 346622"/>
                <a:gd name="csY18" fmla="*/ 265055 h 346637"/>
                <a:gd name="csX19" fmla="*/ 48172 w 346622"/>
                <a:gd name="csY19" fmla="*/ 273166 h 346637"/>
                <a:gd name="csX20" fmla="*/ 34830 w 346622"/>
                <a:gd name="csY20" fmla="*/ 288717 h 346637"/>
                <a:gd name="csX21" fmla="*/ 38556 w 346622"/>
                <a:gd name="csY21" fmla="*/ 323821 h 346637"/>
                <a:gd name="csX22" fmla="*/ 94189 w 346622"/>
                <a:gd name="csY22" fmla="*/ 325360 h 346637"/>
                <a:gd name="csX23" fmla="*/ 99925 w 346622"/>
                <a:gd name="csY23" fmla="*/ 315704 h 346637"/>
                <a:gd name="csX24" fmla="*/ 105631 w 346622"/>
                <a:gd name="csY24" fmla="*/ 302724 h 346637"/>
                <a:gd name="csX25" fmla="*/ 121942 w 346622"/>
                <a:gd name="csY25" fmla="*/ 298998 h 346637"/>
                <a:gd name="csX26" fmla="*/ 173373 w 346622"/>
                <a:gd name="csY26" fmla="*/ 341272 h 346637"/>
                <a:gd name="csX27" fmla="*/ 206406 w 346622"/>
                <a:gd name="csY27" fmla="*/ 338044 h 346637"/>
                <a:gd name="csX28" fmla="*/ 248114 w 346622"/>
                <a:gd name="csY28" fmla="*/ 287275 h 346637"/>
                <a:gd name="csX29" fmla="*/ 244389 w 346622"/>
                <a:gd name="csY29" fmla="*/ 270965 h 346637"/>
                <a:gd name="csX30" fmla="*/ 232986 w 346622"/>
                <a:gd name="csY30" fmla="*/ 266016 h 346637"/>
                <a:gd name="csX31" fmla="*/ 223330 w 346622"/>
                <a:gd name="csY31" fmla="*/ 260280 h 346637"/>
                <a:gd name="csX32" fmla="*/ 224870 w 346622"/>
                <a:gd name="csY32" fmla="*/ 204647 h 346637"/>
                <a:gd name="csX33" fmla="*/ 259974 w 346622"/>
                <a:gd name="csY33" fmla="*/ 200921 h 346637"/>
                <a:gd name="csX34" fmla="*/ 275524 w 346622"/>
                <a:gd name="csY34" fmla="*/ 214263 h 346637"/>
                <a:gd name="csX35" fmla="*/ 282587 w 346622"/>
                <a:gd name="csY35" fmla="*/ 224492 h 346637"/>
                <a:gd name="csX36" fmla="*/ 298975 w 346622"/>
                <a:gd name="csY36" fmla="*/ 224714 h 346637"/>
                <a:gd name="csX37" fmla="*/ 341257 w 346622"/>
                <a:gd name="csY37" fmla="*/ 173273 h 346637"/>
                <a:gd name="csX38" fmla="*/ 338029 w 346622"/>
                <a:gd name="csY38" fmla="*/ 140240 h 346637"/>
                <a:gd name="csX39" fmla="*/ 286934 w 346622"/>
                <a:gd name="csY39" fmla="*/ 98242 h 346637"/>
                <a:gd name="csX40" fmla="*/ 287157 w 346622"/>
                <a:gd name="csY40" fmla="*/ 81855 h 346637"/>
                <a:gd name="csX41" fmla="*/ 298786 w 346622"/>
                <a:gd name="csY41" fmla="*/ 73743 h 346637"/>
                <a:gd name="csX42" fmla="*/ 312129 w 346622"/>
                <a:gd name="csY42" fmla="*/ 58192 h 346637"/>
                <a:gd name="csX43" fmla="*/ 308403 w 346622"/>
                <a:gd name="csY43" fmla="*/ 23088 h 346637"/>
                <a:gd name="csX44" fmla="*/ 252770 w 346622"/>
                <a:gd name="csY44" fmla="*/ 21549 h 346637"/>
                <a:gd name="csX45" fmla="*/ 252771 w 346622"/>
                <a:gd name="csY45" fmla="*/ 21541 h 34663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Lst>
              <a:rect l="l" t="t" r="r" b="b"/>
              <a:pathLst>
                <a:path w="346622" h="346637">
                  <a:moveTo>
                    <a:pt x="252771" y="21541"/>
                  </a:moveTo>
                  <a:cubicBezTo>
                    <a:pt x="250336" y="24502"/>
                    <a:pt x="248501" y="27417"/>
                    <a:pt x="247035" y="31196"/>
                  </a:cubicBezTo>
                  <a:cubicBezTo>
                    <a:pt x="245042" y="35643"/>
                    <a:pt x="243324" y="39754"/>
                    <a:pt x="241328" y="44177"/>
                  </a:cubicBezTo>
                  <a:cubicBezTo>
                    <a:pt x="238302" y="50536"/>
                    <a:pt x="230285" y="52231"/>
                    <a:pt x="225018" y="47902"/>
                  </a:cubicBezTo>
                  <a:lnTo>
                    <a:pt x="173267" y="5365"/>
                  </a:lnTo>
                  <a:cubicBezTo>
                    <a:pt x="163378" y="-2763"/>
                    <a:pt x="148638" y="-1631"/>
                    <a:pt x="140234" y="8593"/>
                  </a:cubicBezTo>
                  <a:lnTo>
                    <a:pt x="97960" y="60025"/>
                  </a:lnTo>
                  <a:cubicBezTo>
                    <a:pt x="93621" y="65304"/>
                    <a:pt x="85427" y="65193"/>
                    <a:pt x="81572" y="59802"/>
                  </a:cubicBezTo>
                  <a:cubicBezTo>
                    <a:pt x="78481" y="56161"/>
                    <a:pt x="75999" y="52460"/>
                    <a:pt x="73461" y="48172"/>
                  </a:cubicBezTo>
                  <a:cubicBezTo>
                    <a:pt x="70206" y="42735"/>
                    <a:pt x="64866" y="37785"/>
                    <a:pt x="57910" y="34830"/>
                  </a:cubicBezTo>
                  <a:cubicBezTo>
                    <a:pt x="46461" y="29281"/>
                    <a:pt x="32964" y="30896"/>
                    <a:pt x="22806" y="38556"/>
                  </a:cubicBezTo>
                  <a:cubicBezTo>
                    <a:pt x="3616" y="53162"/>
                    <a:pt x="3793" y="79826"/>
                    <a:pt x="21267" y="94189"/>
                  </a:cubicBezTo>
                  <a:cubicBezTo>
                    <a:pt x="24229" y="96623"/>
                    <a:pt x="27478" y="98734"/>
                    <a:pt x="30923" y="99925"/>
                  </a:cubicBezTo>
                  <a:cubicBezTo>
                    <a:pt x="35369" y="101918"/>
                    <a:pt x="39480" y="103636"/>
                    <a:pt x="43903" y="105631"/>
                  </a:cubicBezTo>
                  <a:cubicBezTo>
                    <a:pt x="50262" y="108658"/>
                    <a:pt x="51958" y="116675"/>
                    <a:pt x="47629" y="121942"/>
                  </a:cubicBezTo>
                  <a:lnTo>
                    <a:pt x="5365" y="173360"/>
                  </a:lnTo>
                  <a:cubicBezTo>
                    <a:pt x="-2763" y="183249"/>
                    <a:pt x="-1631" y="197989"/>
                    <a:pt x="8593" y="206393"/>
                  </a:cubicBezTo>
                  <a:lnTo>
                    <a:pt x="60025" y="248667"/>
                  </a:lnTo>
                  <a:cubicBezTo>
                    <a:pt x="65304" y="253006"/>
                    <a:pt x="65193" y="261200"/>
                    <a:pt x="59802" y="265055"/>
                  </a:cubicBezTo>
                  <a:cubicBezTo>
                    <a:pt x="56161" y="268146"/>
                    <a:pt x="52460" y="270628"/>
                    <a:pt x="48172" y="273166"/>
                  </a:cubicBezTo>
                  <a:cubicBezTo>
                    <a:pt x="42735" y="276421"/>
                    <a:pt x="37785" y="281761"/>
                    <a:pt x="34830" y="288717"/>
                  </a:cubicBezTo>
                  <a:cubicBezTo>
                    <a:pt x="29281" y="300166"/>
                    <a:pt x="30896" y="313663"/>
                    <a:pt x="38556" y="323821"/>
                  </a:cubicBezTo>
                  <a:cubicBezTo>
                    <a:pt x="52898" y="343333"/>
                    <a:pt x="79826" y="342834"/>
                    <a:pt x="94189" y="325360"/>
                  </a:cubicBezTo>
                  <a:cubicBezTo>
                    <a:pt x="96623" y="322398"/>
                    <a:pt x="98458" y="319484"/>
                    <a:pt x="99925" y="315704"/>
                  </a:cubicBezTo>
                  <a:cubicBezTo>
                    <a:pt x="101918" y="311258"/>
                    <a:pt x="103636" y="307147"/>
                    <a:pt x="105631" y="302724"/>
                  </a:cubicBezTo>
                  <a:cubicBezTo>
                    <a:pt x="108658" y="296365"/>
                    <a:pt x="116675" y="294669"/>
                    <a:pt x="121942" y="298998"/>
                  </a:cubicBezTo>
                  <a:lnTo>
                    <a:pt x="173373" y="341272"/>
                  </a:lnTo>
                  <a:cubicBezTo>
                    <a:pt x="183262" y="349401"/>
                    <a:pt x="198002" y="348269"/>
                    <a:pt x="206406" y="338044"/>
                  </a:cubicBezTo>
                  <a:lnTo>
                    <a:pt x="248114" y="287275"/>
                  </a:lnTo>
                  <a:cubicBezTo>
                    <a:pt x="252454" y="281995"/>
                    <a:pt x="250758" y="273978"/>
                    <a:pt x="244389" y="270965"/>
                  </a:cubicBezTo>
                  <a:cubicBezTo>
                    <a:pt x="240552" y="268912"/>
                    <a:pt x="236776" y="267469"/>
                    <a:pt x="232986" y="266016"/>
                  </a:cubicBezTo>
                  <a:cubicBezTo>
                    <a:pt x="229531" y="264838"/>
                    <a:pt x="226305" y="262725"/>
                    <a:pt x="223330" y="260280"/>
                  </a:cubicBezTo>
                  <a:cubicBezTo>
                    <a:pt x="206192" y="246193"/>
                    <a:pt x="205943" y="218932"/>
                    <a:pt x="224870" y="204647"/>
                  </a:cubicBezTo>
                  <a:cubicBezTo>
                    <a:pt x="235028" y="196987"/>
                    <a:pt x="248247" y="195683"/>
                    <a:pt x="259974" y="200921"/>
                  </a:cubicBezTo>
                  <a:cubicBezTo>
                    <a:pt x="266655" y="204211"/>
                    <a:pt x="271670" y="208873"/>
                    <a:pt x="275524" y="214263"/>
                  </a:cubicBezTo>
                  <a:cubicBezTo>
                    <a:pt x="277671" y="217689"/>
                    <a:pt x="280152" y="221390"/>
                    <a:pt x="282587" y="224492"/>
                  </a:cubicBezTo>
                  <a:cubicBezTo>
                    <a:pt x="286787" y="230145"/>
                    <a:pt x="294646" y="229981"/>
                    <a:pt x="298975" y="224714"/>
                  </a:cubicBezTo>
                  <a:lnTo>
                    <a:pt x="341257" y="173273"/>
                  </a:lnTo>
                  <a:cubicBezTo>
                    <a:pt x="349386" y="163384"/>
                    <a:pt x="348253" y="148644"/>
                    <a:pt x="338029" y="140240"/>
                  </a:cubicBezTo>
                  <a:lnTo>
                    <a:pt x="286934" y="98242"/>
                  </a:lnTo>
                  <a:cubicBezTo>
                    <a:pt x="281654" y="93903"/>
                    <a:pt x="281766" y="85709"/>
                    <a:pt x="287157" y="81855"/>
                  </a:cubicBezTo>
                  <a:cubicBezTo>
                    <a:pt x="290798" y="78763"/>
                    <a:pt x="294499" y="76281"/>
                    <a:pt x="298786" y="73743"/>
                  </a:cubicBezTo>
                  <a:cubicBezTo>
                    <a:pt x="304224" y="70488"/>
                    <a:pt x="309173" y="65148"/>
                    <a:pt x="312129" y="58192"/>
                  </a:cubicBezTo>
                  <a:cubicBezTo>
                    <a:pt x="317678" y="46743"/>
                    <a:pt x="316063" y="33247"/>
                    <a:pt x="308403" y="23088"/>
                  </a:cubicBezTo>
                  <a:cubicBezTo>
                    <a:pt x="294119" y="4163"/>
                    <a:pt x="266857" y="4410"/>
                    <a:pt x="252770" y="21549"/>
                  </a:cubicBezTo>
                  <a:lnTo>
                    <a:pt x="252771" y="21541"/>
                  </a:lnTo>
                  <a:close/>
                </a:path>
              </a:pathLst>
            </a:custGeom>
            <a:solidFill>
              <a:schemeClr val="accent4"/>
            </a:solidFill>
            <a:ln w="6223" cap="flat">
              <a:noFill/>
              <a:prstDash val="solid"/>
              <a:miter/>
            </a:ln>
          </p:spPr>
          <p:txBody>
            <a:bodyPr/>
            <a:lstStyle/>
            <a:p>
              <a:endParaRPr lang="en-US"/>
            </a:p>
          </p:txBody>
        </p:sp>
        <p:sp>
          <p:nvSpPr>
            <p:cNvPr id="20" name="Freeform: Shape 19">
              <a:extLst>
                <a:ext uri="{FF2B5EF4-FFF2-40B4-BE49-F238E27FC236}">
                  <a16:creationId xmlns:a16="http://schemas.microsoft.com/office/drawing/2014/main" id="{65746363-777A-8927-5704-426C408361CC}"/>
                </a:ext>
              </a:extLst>
            </p:cNvPr>
            <p:cNvSpPr/>
            <p:nvPr/>
          </p:nvSpPr>
          <p:spPr>
            <a:xfrm>
              <a:off x="4570408" y="4302373"/>
              <a:ext cx="346637" cy="346622"/>
            </a:xfrm>
            <a:custGeom>
              <a:avLst/>
              <a:gdLst>
                <a:gd name="csX0" fmla="*/ 325097 w 346637"/>
                <a:gd name="csY0" fmla="*/ 252771 h 346622"/>
                <a:gd name="csX1" fmla="*/ 315442 w 346637"/>
                <a:gd name="csY1" fmla="*/ 247035 h 346622"/>
                <a:gd name="csX2" fmla="*/ 302461 w 346637"/>
                <a:gd name="csY2" fmla="*/ 241328 h 346622"/>
                <a:gd name="csX3" fmla="*/ 298735 w 346637"/>
                <a:gd name="csY3" fmla="*/ 225018 h 346622"/>
                <a:gd name="csX4" fmla="*/ 341272 w 346637"/>
                <a:gd name="csY4" fmla="*/ 173267 h 346622"/>
                <a:gd name="csX5" fmla="*/ 338044 w 346637"/>
                <a:gd name="csY5" fmla="*/ 140234 h 346622"/>
                <a:gd name="csX6" fmla="*/ 173278 w 346637"/>
                <a:gd name="csY6" fmla="*/ 5365 h 346622"/>
                <a:gd name="csX7" fmla="*/ 140245 w 346637"/>
                <a:gd name="csY7" fmla="*/ 8593 h 346622"/>
                <a:gd name="csX8" fmla="*/ 97971 w 346637"/>
                <a:gd name="csY8" fmla="*/ 60025 h 346622"/>
                <a:gd name="csX9" fmla="*/ 81583 w 346637"/>
                <a:gd name="csY9" fmla="*/ 59802 h 346622"/>
                <a:gd name="csX10" fmla="*/ 73471 w 346637"/>
                <a:gd name="csY10" fmla="*/ 48172 h 346622"/>
                <a:gd name="csX11" fmla="*/ 57921 w 346637"/>
                <a:gd name="csY11" fmla="*/ 34830 h 346622"/>
                <a:gd name="csX12" fmla="*/ 22817 w 346637"/>
                <a:gd name="csY12" fmla="*/ 38556 h 346622"/>
                <a:gd name="csX13" fmla="*/ 21278 w 346637"/>
                <a:gd name="csY13" fmla="*/ 94189 h 346622"/>
                <a:gd name="csX14" fmla="*/ 30933 w 346637"/>
                <a:gd name="csY14" fmla="*/ 99925 h 346622"/>
                <a:gd name="csX15" fmla="*/ 43914 w 346637"/>
                <a:gd name="csY15" fmla="*/ 105631 h 346622"/>
                <a:gd name="csX16" fmla="*/ 47640 w 346637"/>
                <a:gd name="csY16" fmla="*/ 121942 h 346622"/>
                <a:gd name="csX17" fmla="*/ 5365 w 346637"/>
                <a:gd name="csY17" fmla="*/ 173373 h 346622"/>
                <a:gd name="csX18" fmla="*/ 8593 w 346637"/>
                <a:gd name="csY18" fmla="*/ 206406 h 346622"/>
                <a:gd name="csX19" fmla="*/ 59363 w 346637"/>
                <a:gd name="csY19" fmla="*/ 248114 h 346622"/>
                <a:gd name="csX20" fmla="*/ 75673 w 346637"/>
                <a:gd name="csY20" fmla="*/ 244389 h 346622"/>
                <a:gd name="csX21" fmla="*/ 80622 w 346637"/>
                <a:gd name="csY21" fmla="*/ 232986 h 346622"/>
                <a:gd name="csX22" fmla="*/ 86358 w 346637"/>
                <a:gd name="csY22" fmla="*/ 223330 h 346622"/>
                <a:gd name="csX23" fmla="*/ 141991 w 346637"/>
                <a:gd name="csY23" fmla="*/ 224870 h 346622"/>
                <a:gd name="csX24" fmla="*/ 145717 w 346637"/>
                <a:gd name="csY24" fmla="*/ 259974 h 346622"/>
                <a:gd name="csX25" fmla="*/ 132374 w 346637"/>
                <a:gd name="csY25" fmla="*/ 275524 h 346622"/>
                <a:gd name="csX26" fmla="*/ 122146 w 346637"/>
                <a:gd name="csY26" fmla="*/ 282587 h 346622"/>
                <a:gd name="csX27" fmla="*/ 121924 w 346637"/>
                <a:gd name="csY27" fmla="*/ 298975 h 346622"/>
                <a:gd name="csX28" fmla="*/ 173365 w 346637"/>
                <a:gd name="csY28" fmla="*/ 341257 h 346622"/>
                <a:gd name="csX29" fmla="*/ 206398 w 346637"/>
                <a:gd name="csY29" fmla="*/ 338029 h 346622"/>
                <a:gd name="csX30" fmla="*/ 248395 w 346637"/>
                <a:gd name="csY30" fmla="*/ 286934 h 346622"/>
                <a:gd name="csX31" fmla="*/ 264783 w 346637"/>
                <a:gd name="csY31" fmla="*/ 287156 h 346622"/>
                <a:gd name="csX32" fmla="*/ 272895 w 346637"/>
                <a:gd name="csY32" fmla="*/ 298787 h 346622"/>
                <a:gd name="csX33" fmla="*/ 288445 w 346637"/>
                <a:gd name="csY33" fmla="*/ 312129 h 346622"/>
                <a:gd name="csX34" fmla="*/ 323549 w 346637"/>
                <a:gd name="csY34" fmla="*/ 308403 h 346622"/>
                <a:gd name="csX35" fmla="*/ 325089 w 346637"/>
                <a:gd name="csY35" fmla="*/ 252770 h 346622"/>
                <a:gd name="csX36" fmla="*/ 325097 w 346637"/>
                <a:gd name="csY36" fmla="*/ 252771 h 34662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Lst>
              <a:rect l="l" t="t" r="r" b="b"/>
              <a:pathLst>
                <a:path w="346637" h="346622">
                  <a:moveTo>
                    <a:pt x="325097" y="252771"/>
                  </a:moveTo>
                  <a:cubicBezTo>
                    <a:pt x="322135" y="250336"/>
                    <a:pt x="319221" y="248502"/>
                    <a:pt x="315442" y="247035"/>
                  </a:cubicBezTo>
                  <a:cubicBezTo>
                    <a:pt x="310995" y="245042"/>
                    <a:pt x="306884" y="243324"/>
                    <a:pt x="302461" y="241328"/>
                  </a:cubicBezTo>
                  <a:cubicBezTo>
                    <a:pt x="296102" y="238302"/>
                    <a:pt x="294407" y="230285"/>
                    <a:pt x="298735" y="225018"/>
                  </a:cubicBezTo>
                  <a:lnTo>
                    <a:pt x="341272" y="173267"/>
                  </a:lnTo>
                  <a:cubicBezTo>
                    <a:pt x="349401" y="163378"/>
                    <a:pt x="348269" y="148638"/>
                    <a:pt x="338044" y="140234"/>
                  </a:cubicBezTo>
                  <a:lnTo>
                    <a:pt x="173278" y="5365"/>
                  </a:lnTo>
                  <a:cubicBezTo>
                    <a:pt x="163389" y="-2763"/>
                    <a:pt x="148649" y="-1631"/>
                    <a:pt x="140245" y="8593"/>
                  </a:cubicBezTo>
                  <a:lnTo>
                    <a:pt x="97971" y="60025"/>
                  </a:lnTo>
                  <a:cubicBezTo>
                    <a:pt x="93631" y="65304"/>
                    <a:pt x="85437" y="65193"/>
                    <a:pt x="81583" y="59802"/>
                  </a:cubicBezTo>
                  <a:cubicBezTo>
                    <a:pt x="78492" y="56161"/>
                    <a:pt x="76010" y="52460"/>
                    <a:pt x="73471" y="48172"/>
                  </a:cubicBezTo>
                  <a:cubicBezTo>
                    <a:pt x="70216" y="42735"/>
                    <a:pt x="64877" y="37785"/>
                    <a:pt x="57921" y="34830"/>
                  </a:cubicBezTo>
                  <a:cubicBezTo>
                    <a:pt x="46472" y="29281"/>
                    <a:pt x="32975" y="30896"/>
                    <a:pt x="22817" y="38556"/>
                  </a:cubicBezTo>
                  <a:cubicBezTo>
                    <a:pt x="3305" y="52898"/>
                    <a:pt x="3804" y="79826"/>
                    <a:pt x="21278" y="94189"/>
                  </a:cubicBezTo>
                  <a:cubicBezTo>
                    <a:pt x="24239" y="96623"/>
                    <a:pt x="27154" y="98458"/>
                    <a:pt x="30933" y="99925"/>
                  </a:cubicBezTo>
                  <a:cubicBezTo>
                    <a:pt x="35380" y="101918"/>
                    <a:pt x="39491" y="103636"/>
                    <a:pt x="43914" y="105631"/>
                  </a:cubicBezTo>
                  <a:cubicBezTo>
                    <a:pt x="50273" y="108658"/>
                    <a:pt x="51968" y="116675"/>
                    <a:pt x="47640" y="121942"/>
                  </a:cubicBezTo>
                  <a:lnTo>
                    <a:pt x="5365" y="173373"/>
                  </a:lnTo>
                  <a:cubicBezTo>
                    <a:pt x="-2763" y="183262"/>
                    <a:pt x="-1631" y="198002"/>
                    <a:pt x="8593" y="206406"/>
                  </a:cubicBezTo>
                  <a:lnTo>
                    <a:pt x="59363" y="248114"/>
                  </a:lnTo>
                  <a:cubicBezTo>
                    <a:pt x="64642" y="252454"/>
                    <a:pt x="72660" y="250759"/>
                    <a:pt x="75673" y="244389"/>
                  </a:cubicBezTo>
                  <a:cubicBezTo>
                    <a:pt x="77726" y="240552"/>
                    <a:pt x="79168" y="236776"/>
                    <a:pt x="80622" y="232986"/>
                  </a:cubicBezTo>
                  <a:cubicBezTo>
                    <a:pt x="81800" y="229531"/>
                    <a:pt x="83913" y="226305"/>
                    <a:pt x="86358" y="223330"/>
                  </a:cubicBezTo>
                  <a:cubicBezTo>
                    <a:pt x="100445" y="206191"/>
                    <a:pt x="127706" y="205943"/>
                    <a:pt x="141991" y="224870"/>
                  </a:cubicBezTo>
                  <a:cubicBezTo>
                    <a:pt x="149651" y="235028"/>
                    <a:pt x="150955" y="248247"/>
                    <a:pt x="145717" y="259974"/>
                  </a:cubicBezTo>
                  <a:cubicBezTo>
                    <a:pt x="142427" y="266655"/>
                    <a:pt x="137765" y="271670"/>
                    <a:pt x="132374" y="275524"/>
                  </a:cubicBezTo>
                  <a:cubicBezTo>
                    <a:pt x="128949" y="277671"/>
                    <a:pt x="125248" y="280152"/>
                    <a:pt x="122146" y="282587"/>
                  </a:cubicBezTo>
                  <a:cubicBezTo>
                    <a:pt x="116493" y="286787"/>
                    <a:pt x="116657" y="294646"/>
                    <a:pt x="121924" y="298975"/>
                  </a:cubicBezTo>
                  <a:lnTo>
                    <a:pt x="173365" y="341257"/>
                  </a:lnTo>
                  <a:cubicBezTo>
                    <a:pt x="183254" y="349386"/>
                    <a:pt x="197994" y="348253"/>
                    <a:pt x="206398" y="338029"/>
                  </a:cubicBezTo>
                  <a:lnTo>
                    <a:pt x="248395" y="286934"/>
                  </a:lnTo>
                  <a:cubicBezTo>
                    <a:pt x="252735" y="281654"/>
                    <a:pt x="260929" y="281766"/>
                    <a:pt x="264783" y="287156"/>
                  </a:cubicBezTo>
                  <a:cubicBezTo>
                    <a:pt x="267875" y="290798"/>
                    <a:pt x="270356" y="294499"/>
                    <a:pt x="272895" y="298787"/>
                  </a:cubicBezTo>
                  <a:cubicBezTo>
                    <a:pt x="276150" y="304224"/>
                    <a:pt x="281489" y="309173"/>
                    <a:pt x="288445" y="312129"/>
                  </a:cubicBezTo>
                  <a:cubicBezTo>
                    <a:pt x="299894" y="317678"/>
                    <a:pt x="313391" y="316063"/>
                    <a:pt x="323549" y="308403"/>
                  </a:cubicBezTo>
                  <a:cubicBezTo>
                    <a:pt x="342475" y="294119"/>
                    <a:pt x="342228" y="266857"/>
                    <a:pt x="325089" y="252770"/>
                  </a:cubicBezTo>
                  <a:lnTo>
                    <a:pt x="325097" y="252771"/>
                  </a:lnTo>
                  <a:close/>
                </a:path>
              </a:pathLst>
            </a:custGeom>
            <a:solidFill>
              <a:srgbClr val="B8CBDE"/>
            </a:solidFill>
            <a:ln w="6223" cap="flat">
              <a:noFill/>
              <a:prstDash val="solid"/>
              <a:miter/>
            </a:ln>
          </p:spPr>
          <p:txBody>
            <a:bodyPr/>
            <a:lstStyle/>
            <a:p>
              <a:endParaRPr lang="en-US"/>
            </a:p>
          </p:txBody>
        </p:sp>
        <p:sp>
          <p:nvSpPr>
            <p:cNvPr id="21" name="Freeform: Shape 20">
              <a:extLst>
                <a:ext uri="{FF2B5EF4-FFF2-40B4-BE49-F238E27FC236}">
                  <a16:creationId xmlns:a16="http://schemas.microsoft.com/office/drawing/2014/main" id="{5C5B2196-EA9C-922B-D81F-134290BA21EE}"/>
                </a:ext>
              </a:extLst>
            </p:cNvPr>
            <p:cNvSpPr/>
            <p:nvPr/>
          </p:nvSpPr>
          <p:spPr>
            <a:xfrm>
              <a:off x="4166703" y="4278796"/>
              <a:ext cx="347281" cy="347296"/>
            </a:xfrm>
            <a:custGeom>
              <a:avLst/>
              <a:gdLst>
                <a:gd name="csX0" fmla="*/ 90391 w 347281"/>
                <a:gd name="csY0" fmla="*/ 323381 h 347296"/>
                <a:gd name="csX1" fmla="*/ 96368 w 347281"/>
                <a:gd name="csY1" fmla="*/ 313873 h 347296"/>
                <a:gd name="csX2" fmla="*/ 102399 w 347281"/>
                <a:gd name="csY2" fmla="*/ 301040 h 347296"/>
                <a:gd name="csX3" fmla="*/ 118797 w 347281"/>
                <a:gd name="csY3" fmla="*/ 297726 h 347296"/>
                <a:gd name="csX4" fmla="*/ 169463 w 347281"/>
                <a:gd name="csY4" fmla="*/ 341550 h 347296"/>
                <a:gd name="csX5" fmla="*/ 202566 w 347281"/>
                <a:gd name="csY5" fmla="*/ 339153 h 347296"/>
                <a:gd name="csX6" fmla="*/ 246120 w 347281"/>
                <a:gd name="csY6" fmla="*/ 288801 h 347296"/>
                <a:gd name="csX7" fmla="*/ 262497 w 347281"/>
                <a:gd name="csY7" fmla="*/ 289435 h 347296"/>
                <a:gd name="csX8" fmla="*/ 270314 w 347281"/>
                <a:gd name="csY8" fmla="*/ 301266 h 347296"/>
                <a:gd name="csX9" fmla="*/ 285524 w 347281"/>
                <a:gd name="csY9" fmla="*/ 314995 h 347296"/>
                <a:gd name="csX10" fmla="*/ 320710 w 347281"/>
                <a:gd name="csY10" fmla="*/ 312152 h 347296"/>
                <a:gd name="csX11" fmla="*/ 323648 w 347281"/>
                <a:gd name="csY11" fmla="*/ 256576 h 347296"/>
                <a:gd name="csX12" fmla="*/ 314139 w 347281"/>
                <a:gd name="csY12" fmla="*/ 250599 h 347296"/>
                <a:gd name="csX13" fmla="*/ 301307 w 347281"/>
                <a:gd name="csY13" fmla="*/ 244568 h 347296"/>
                <a:gd name="csX14" fmla="*/ 297992 w 347281"/>
                <a:gd name="csY14" fmla="*/ 228169 h 347296"/>
                <a:gd name="csX15" fmla="*/ 341535 w 347281"/>
                <a:gd name="csY15" fmla="*/ 177830 h 347296"/>
                <a:gd name="csX16" fmla="*/ 339138 w 347281"/>
                <a:gd name="csY16" fmla="*/ 144726 h 347296"/>
                <a:gd name="csX17" fmla="*/ 288786 w 347281"/>
                <a:gd name="csY17" fmla="*/ 101173 h 347296"/>
                <a:gd name="csX18" fmla="*/ 289420 w 347281"/>
                <a:gd name="csY18" fmla="*/ 84795 h 347296"/>
                <a:gd name="csX19" fmla="*/ 301250 w 347281"/>
                <a:gd name="csY19" fmla="*/ 76979 h 347296"/>
                <a:gd name="csX20" fmla="*/ 314980 w 347281"/>
                <a:gd name="csY20" fmla="*/ 61769 h 347296"/>
                <a:gd name="csX21" fmla="*/ 312137 w 347281"/>
                <a:gd name="csY21" fmla="*/ 26582 h 347296"/>
                <a:gd name="csX22" fmla="*/ 256560 w 347281"/>
                <a:gd name="csY22" fmla="*/ 23645 h 347296"/>
                <a:gd name="csX23" fmla="*/ 250583 w 347281"/>
                <a:gd name="csY23" fmla="*/ 33153 h 347296"/>
                <a:gd name="csX24" fmla="*/ 244552 w 347281"/>
                <a:gd name="csY24" fmla="*/ 45986 h 347296"/>
                <a:gd name="csX25" fmla="*/ 228154 w 347281"/>
                <a:gd name="csY25" fmla="*/ 49300 h 347296"/>
                <a:gd name="csX26" fmla="*/ 177801 w 347281"/>
                <a:gd name="csY26" fmla="*/ 5747 h 347296"/>
                <a:gd name="csX27" fmla="*/ 144698 w 347281"/>
                <a:gd name="csY27" fmla="*/ 8143 h 347296"/>
                <a:gd name="csX28" fmla="*/ 101726 w 347281"/>
                <a:gd name="csY28" fmla="*/ 57848 h 347296"/>
                <a:gd name="csX29" fmla="*/ 105041 w 347281"/>
                <a:gd name="csY29" fmla="*/ 74247 h 347296"/>
                <a:gd name="csX30" fmla="*/ 116315 w 347281"/>
                <a:gd name="csY30" fmla="*/ 79481 h 347296"/>
                <a:gd name="csX31" fmla="*/ 125823 w 347281"/>
                <a:gd name="csY31" fmla="*/ 85458 h 347296"/>
                <a:gd name="csX32" fmla="*/ 122886 w 347281"/>
                <a:gd name="csY32" fmla="*/ 141034 h 347296"/>
                <a:gd name="csX33" fmla="*/ 87700 w 347281"/>
                <a:gd name="csY33" fmla="*/ 143877 h 347296"/>
                <a:gd name="csX34" fmla="*/ 72490 w 347281"/>
                <a:gd name="csY34" fmla="*/ 130148 h 347296"/>
                <a:gd name="csX35" fmla="*/ 65686 w 347281"/>
                <a:gd name="csY35" fmla="*/ 119745 h 347296"/>
                <a:gd name="csX36" fmla="*/ 49309 w 347281"/>
                <a:gd name="csY36" fmla="*/ 119110 h 347296"/>
                <a:gd name="csX37" fmla="*/ 5747 w 347281"/>
                <a:gd name="csY37" fmla="*/ 169472 h 347296"/>
                <a:gd name="csX38" fmla="*/ 8143 w 347281"/>
                <a:gd name="csY38" fmla="*/ 202576 h 347296"/>
                <a:gd name="csX39" fmla="*/ 58167 w 347281"/>
                <a:gd name="csY39" fmla="*/ 245845 h 347296"/>
                <a:gd name="csX40" fmla="*/ 57532 w 347281"/>
                <a:gd name="csY40" fmla="*/ 262222 h 347296"/>
                <a:gd name="csX41" fmla="*/ 45702 w 347281"/>
                <a:gd name="csY41" fmla="*/ 270039 h 347296"/>
                <a:gd name="csX42" fmla="*/ 31973 w 347281"/>
                <a:gd name="csY42" fmla="*/ 285249 h 347296"/>
                <a:gd name="csX43" fmla="*/ 34815 w 347281"/>
                <a:gd name="csY43" fmla="*/ 320436 h 347296"/>
                <a:gd name="csX44" fmla="*/ 90392 w 347281"/>
                <a:gd name="csY44" fmla="*/ 323373 h 347296"/>
                <a:gd name="csX45" fmla="*/ 90391 w 347281"/>
                <a:gd name="csY45" fmla="*/ 323381 h 34729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Lst>
              <a:rect l="l" t="t" r="r" b="b"/>
              <a:pathLst>
                <a:path w="347281" h="347296">
                  <a:moveTo>
                    <a:pt x="90391" y="323381"/>
                  </a:moveTo>
                  <a:cubicBezTo>
                    <a:pt x="92899" y="320482"/>
                    <a:pt x="94807" y="317614"/>
                    <a:pt x="96368" y="313873"/>
                  </a:cubicBezTo>
                  <a:cubicBezTo>
                    <a:pt x="98472" y="309478"/>
                    <a:pt x="100293" y="305411"/>
                    <a:pt x="102399" y="301040"/>
                  </a:cubicBezTo>
                  <a:cubicBezTo>
                    <a:pt x="105584" y="294759"/>
                    <a:pt x="113641" y="293266"/>
                    <a:pt x="118797" y="297726"/>
                  </a:cubicBezTo>
                  <a:lnTo>
                    <a:pt x="169463" y="341550"/>
                  </a:lnTo>
                  <a:cubicBezTo>
                    <a:pt x="179145" y="349925"/>
                    <a:pt x="193908" y="349163"/>
                    <a:pt x="202566" y="339153"/>
                  </a:cubicBezTo>
                  <a:lnTo>
                    <a:pt x="246120" y="288801"/>
                  </a:lnTo>
                  <a:cubicBezTo>
                    <a:pt x="250591" y="283632"/>
                    <a:pt x="258779" y="283949"/>
                    <a:pt x="262497" y="289435"/>
                  </a:cubicBezTo>
                  <a:cubicBezTo>
                    <a:pt x="265496" y="293154"/>
                    <a:pt x="267884" y="296916"/>
                    <a:pt x="270314" y="301266"/>
                  </a:cubicBezTo>
                  <a:cubicBezTo>
                    <a:pt x="273431" y="306783"/>
                    <a:pt x="278644" y="311865"/>
                    <a:pt x="285524" y="314995"/>
                  </a:cubicBezTo>
                  <a:cubicBezTo>
                    <a:pt x="296830" y="320830"/>
                    <a:pt x="310363" y="319555"/>
                    <a:pt x="320710" y="312152"/>
                  </a:cubicBezTo>
                  <a:cubicBezTo>
                    <a:pt x="340262" y="298033"/>
                    <a:pt x="340755" y="271373"/>
                    <a:pt x="323648" y="256576"/>
                  </a:cubicBezTo>
                  <a:cubicBezTo>
                    <a:pt x="320748" y="254067"/>
                    <a:pt x="317553" y="251876"/>
                    <a:pt x="314139" y="250599"/>
                  </a:cubicBezTo>
                  <a:cubicBezTo>
                    <a:pt x="309745" y="248495"/>
                    <a:pt x="305678" y="246674"/>
                    <a:pt x="301307" y="244568"/>
                  </a:cubicBezTo>
                  <a:cubicBezTo>
                    <a:pt x="295025" y="241383"/>
                    <a:pt x="293532" y="233325"/>
                    <a:pt x="297992" y="228169"/>
                  </a:cubicBezTo>
                  <a:lnTo>
                    <a:pt x="341535" y="177830"/>
                  </a:lnTo>
                  <a:cubicBezTo>
                    <a:pt x="349909" y="168148"/>
                    <a:pt x="349148" y="153384"/>
                    <a:pt x="339138" y="144726"/>
                  </a:cubicBezTo>
                  <a:lnTo>
                    <a:pt x="288786" y="101173"/>
                  </a:lnTo>
                  <a:cubicBezTo>
                    <a:pt x="283617" y="96702"/>
                    <a:pt x="283934" y="88513"/>
                    <a:pt x="289420" y="84795"/>
                  </a:cubicBezTo>
                  <a:cubicBezTo>
                    <a:pt x="293138" y="81796"/>
                    <a:pt x="296900" y="79409"/>
                    <a:pt x="301250" y="76979"/>
                  </a:cubicBezTo>
                  <a:cubicBezTo>
                    <a:pt x="306767" y="73861"/>
                    <a:pt x="311850" y="68648"/>
                    <a:pt x="314980" y="61769"/>
                  </a:cubicBezTo>
                  <a:cubicBezTo>
                    <a:pt x="320814" y="50463"/>
                    <a:pt x="319539" y="36929"/>
                    <a:pt x="312137" y="26582"/>
                  </a:cubicBezTo>
                  <a:cubicBezTo>
                    <a:pt x="298290" y="6715"/>
                    <a:pt x="271357" y="6537"/>
                    <a:pt x="256560" y="23645"/>
                  </a:cubicBezTo>
                  <a:cubicBezTo>
                    <a:pt x="254052" y="26544"/>
                    <a:pt x="252144" y="29412"/>
                    <a:pt x="250583" y="33153"/>
                  </a:cubicBezTo>
                  <a:cubicBezTo>
                    <a:pt x="248479" y="37548"/>
                    <a:pt x="246658" y="41615"/>
                    <a:pt x="244552" y="45986"/>
                  </a:cubicBezTo>
                  <a:cubicBezTo>
                    <a:pt x="241367" y="52267"/>
                    <a:pt x="233310" y="53760"/>
                    <a:pt x="228154" y="49300"/>
                  </a:cubicBezTo>
                  <a:lnTo>
                    <a:pt x="177801" y="5747"/>
                  </a:lnTo>
                  <a:cubicBezTo>
                    <a:pt x="168119" y="-2628"/>
                    <a:pt x="153356" y="-1866"/>
                    <a:pt x="144698" y="8143"/>
                  </a:cubicBezTo>
                  <a:lnTo>
                    <a:pt x="101726" y="57848"/>
                  </a:lnTo>
                  <a:cubicBezTo>
                    <a:pt x="97255" y="63017"/>
                    <a:pt x="98748" y="71075"/>
                    <a:pt x="105041" y="74247"/>
                  </a:cubicBezTo>
                  <a:cubicBezTo>
                    <a:pt x="108824" y="76395"/>
                    <a:pt x="112563" y="77933"/>
                    <a:pt x="116315" y="79481"/>
                  </a:cubicBezTo>
                  <a:cubicBezTo>
                    <a:pt x="119739" y="80746"/>
                    <a:pt x="122911" y="82939"/>
                    <a:pt x="125823" y="85458"/>
                  </a:cubicBezTo>
                  <a:cubicBezTo>
                    <a:pt x="142603" y="99971"/>
                    <a:pt x="142166" y="127230"/>
                    <a:pt x="122886" y="141034"/>
                  </a:cubicBezTo>
                  <a:cubicBezTo>
                    <a:pt x="112539" y="148436"/>
                    <a:pt x="99291" y="149408"/>
                    <a:pt x="87700" y="143877"/>
                  </a:cubicBezTo>
                  <a:cubicBezTo>
                    <a:pt x="81104" y="140420"/>
                    <a:pt x="76207" y="135633"/>
                    <a:pt x="72490" y="130148"/>
                  </a:cubicBezTo>
                  <a:cubicBezTo>
                    <a:pt x="70430" y="126669"/>
                    <a:pt x="68042" y="122907"/>
                    <a:pt x="65686" y="119745"/>
                  </a:cubicBezTo>
                  <a:cubicBezTo>
                    <a:pt x="61629" y="113988"/>
                    <a:pt x="53769" y="113954"/>
                    <a:pt x="49309" y="119110"/>
                  </a:cubicBezTo>
                  <a:lnTo>
                    <a:pt x="5747" y="169472"/>
                  </a:lnTo>
                  <a:cubicBezTo>
                    <a:pt x="-2628" y="179154"/>
                    <a:pt x="-1866" y="193918"/>
                    <a:pt x="8143" y="202576"/>
                  </a:cubicBezTo>
                  <a:lnTo>
                    <a:pt x="58167" y="245845"/>
                  </a:lnTo>
                  <a:cubicBezTo>
                    <a:pt x="63335" y="250316"/>
                    <a:pt x="63018" y="258505"/>
                    <a:pt x="57532" y="262222"/>
                  </a:cubicBezTo>
                  <a:cubicBezTo>
                    <a:pt x="53814" y="265221"/>
                    <a:pt x="50052" y="267609"/>
                    <a:pt x="45702" y="270039"/>
                  </a:cubicBezTo>
                  <a:cubicBezTo>
                    <a:pt x="40185" y="273156"/>
                    <a:pt x="35102" y="278369"/>
                    <a:pt x="31973" y="285249"/>
                  </a:cubicBezTo>
                  <a:cubicBezTo>
                    <a:pt x="26138" y="296555"/>
                    <a:pt x="27413" y="310088"/>
                    <a:pt x="34815" y="320436"/>
                  </a:cubicBezTo>
                  <a:cubicBezTo>
                    <a:pt x="48619" y="339714"/>
                    <a:pt x="75878" y="340152"/>
                    <a:pt x="90392" y="323373"/>
                  </a:cubicBezTo>
                  <a:lnTo>
                    <a:pt x="90391" y="323381"/>
                  </a:lnTo>
                  <a:close/>
                </a:path>
              </a:pathLst>
            </a:custGeom>
            <a:solidFill>
              <a:schemeClr val="tx2"/>
            </a:solidFill>
            <a:ln w="6223" cap="flat">
              <a:noFill/>
              <a:prstDash val="solid"/>
              <a:miter/>
            </a:ln>
          </p:spPr>
          <p:txBody>
            <a:bodyPr/>
            <a:lstStyle/>
            <a:p>
              <a:endParaRPr lang="en-US"/>
            </a:p>
          </p:txBody>
        </p:sp>
      </p:grpSp>
      <p:sp>
        <p:nvSpPr>
          <p:cNvPr id="44" name="Tijdelijke aanduiding voor tekst 5">
            <a:extLst>
              <a:ext uri="{FF2B5EF4-FFF2-40B4-BE49-F238E27FC236}">
                <a16:creationId xmlns:a16="http://schemas.microsoft.com/office/drawing/2014/main" id="{E43A523A-2467-6FCD-E8A9-B527614EA4F9}"/>
              </a:ext>
            </a:extLst>
          </p:cNvPr>
          <p:cNvSpPr txBox="1"/>
          <p:nvPr/>
        </p:nvSpPr>
        <p:spPr>
          <a:xfrm>
            <a:off x="8112171" y="5385030"/>
            <a:ext cx="3304577" cy="664797"/>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US">
                <a:solidFill>
                  <a:schemeClr val="tx1"/>
                </a:solidFill>
              </a:rPr>
              <a:t>Lack of user awareness and training </a:t>
            </a:r>
            <a:endParaRPr lang="en-GB" sz="2000">
              <a:solidFill>
                <a:schemeClr val="tx1"/>
              </a:solidFill>
            </a:endParaRPr>
          </a:p>
        </p:txBody>
      </p:sp>
      <p:sp>
        <p:nvSpPr>
          <p:cNvPr id="65" name="Tijdelijke aanduiding voor dianummer 10">
            <a:extLst>
              <a:ext uri="{FF2B5EF4-FFF2-40B4-BE49-F238E27FC236}">
                <a16:creationId xmlns:a16="http://schemas.microsoft.com/office/drawing/2014/main" id="{AA1643ED-1A60-F5C7-643F-D7BFD750F912}"/>
              </a:ext>
            </a:extLst>
          </p:cNvPr>
          <p:cNvSpPr>
            <a:spLocks noGrp="1"/>
          </p:cNvSpPr>
          <p:nvPr>
            <p:ph type="sldNum" sz="quarter" idx="12"/>
          </p:nvPr>
        </p:nvSpPr>
        <p:spPr>
          <a:xfrm>
            <a:off x="8610600" y="6356350"/>
            <a:ext cx="2743200" cy="365125"/>
          </a:xfrm>
        </p:spPr>
        <p:txBody>
          <a:bodyPr/>
          <a:lstStyle/>
          <a:p>
            <a:fld id="{9E843DB9-9987-4157-AB9C-CEA8D7D910BB}" type="slidenum">
              <a:rPr lang="en-GB" smtClean="0"/>
              <a:pPr/>
              <a:t>5</a:t>
            </a:fld>
            <a:endParaRPr lang="en-GB"/>
          </a:p>
        </p:txBody>
      </p:sp>
      <p:sp>
        <p:nvSpPr>
          <p:cNvPr id="66" name="Tijdelijke aanduiding voor tekst 5">
            <a:extLst>
              <a:ext uri="{FF2B5EF4-FFF2-40B4-BE49-F238E27FC236}">
                <a16:creationId xmlns:a16="http://schemas.microsoft.com/office/drawing/2014/main" id="{05FD33ED-7A7F-2D18-8652-25B856730996}"/>
              </a:ext>
            </a:extLst>
          </p:cNvPr>
          <p:cNvSpPr txBox="1"/>
          <p:nvPr/>
        </p:nvSpPr>
        <p:spPr>
          <a:xfrm>
            <a:off x="8162529" y="1625102"/>
            <a:ext cx="3548417" cy="664797"/>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US" dirty="0">
                <a:solidFill>
                  <a:schemeClr val="tx1"/>
                </a:solidFill>
              </a:rPr>
              <a:t>Sensitive context where harm and damage can occur</a:t>
            </a:r>
            <a:endParaRPr lang="en-GB" sz="2000" dirty="0">
              <a:solidFill>
                <a:schemeClr val="tx1"/>
              </a:solidFill>
            </a:endParaRPr>
          </a:p>
        </p:txBody>
      </p:sp>
      <p:grpSp>
        <p:nvGrpSpPr>
          <p:cNvPr id="73" name="Group 72">
            <a:extLst>
              <a:ext uri="{FF2B5EF4-FFF2-40B4-BE49-F238E27FC236}">
                <a16:creationId xmlns:a16="http://schemas.microsoft.com/office/drawing/2014/main" id="{F8B9E01C-BDEA-B442-7ABC-AF63D08945BB}"/>
              </a:ext>
            </a:extLst>
          </p:cNvPr>
          <p:cNvGrpSpPr/>
          <p:nvPr/>
        </p:nvGrpSpPr>
        <p:grpSpPr>
          <a:xfrm>
            <a:off x="7267539" y="1706809"/>
            <a:ext cx="591952" cy="525696"/>
            <a:chOff x="7253163" y="1682245"/>
            <a:chExt cx="591952" cy="525696"/>
          </a:xfrm>
        </p:grpSpPr>
        <p:sp>
          <p:nvSpPr>
            <p:cNvPr id="70" name="Freeform: Shape 69">
              <a:extLst>
                <a:ext uri="{FF2B5EF4-FFF2-40B4-BE49-F238E27FC236}">
                  <a16:creationId xmlns:a16="http://schemas.microsoft.com/office/drawing/2014/main" id="{A25CAC42-20E7-DC63-602E-4ECBD1FD1115}"/>
                </a:ext>
              </a:extLst>
            </p:cNvPr>
            <p:cNvSpPr/>
            <p:nvPr/>
          </p:nvSpPr>
          <p:spPr>
            <a:xfrm>
              <a:off x="7377733" y="1682245"/>
              <a:ext cx="355388" cy="271962"/>
            </a:xfrm>
            <a:custGeom>
              <a:avLst/>
              <a:gdLst>
                <a:gd name="csX0" fmla="*/ 333297 w 355388"/>
                <a:gd name="csY0" fmla="*/ 27102 h 271962"/>
                <a:gd name="csX1" fmla="*/ 172647 w 355388"/>
                <a:gd name="csY1" fmla="*/ 53997 h 271962"/>
                <a:gd name="csX2" fmla="*/ 22854 w 355388"/>
                <a:gd name="csY2" fmla="*/ 27102 h 271962"/>
                <a:gd name="csX3" fmla="*/ 172647 w 355388"/>
                <a:gd name="csY3" fmla="*/ 271412 h 271962"/>
                <a:gd name="csX4" fmla="*/ 172647 w 355388"/>
                <a:gd name="csY4" fmla="*/ 271963 h 271962"/>
                <a:gd name="csX5" fmla="*/ 333297 w 355388"/>
                <a:gd name="csY5" fmla="*/ 27047 h 271962"/>
              </a:gdLst>
              <a:ahLst/>
              <a:cxnLst>
                <a:cxn ang="0">
                  <a:pos x="csX0" y="csY0"/>
                </a:cxn>
                <a:cxn ang="0">
                  <a:pos x="csX1" y="csY1"/>
                </a:cxn>
                <a:cxn ang="0">
                  <a:pos x="csX2" y="csY2"/>
                </a:cxn>
                <a:cxn ang="0">
                  <a:pos x="csX3" y="csY3"/>
                </a:cxn>
                <a:cxn ang="0">
                  <a:pos x="csX4" y="csY4"/>
                </a:cxn>
                <a:cxn ang="0">
                  <a:pos x="csX5" y="csY5"/>
                </a:cxn>
              </a:cxnLst>
              <a:rect l="l" t="t" r="r" b="b"/>
              <a:pathLst>
                <a:path w="355388" h="271962">
                  <a:moveTo>
                    <a:pt x="333297" y="27102"/>
                  </a:moveTo>
                  <a:cubicBezTo>
                    <a:pt x="270525" y="-46857"/>
                    <a:pt x="172647" y="53997"/>
                    <a:pt x="172647" y="53997"/>
                  </a:cubicBezTo>
                  <a:cubicBezTo>
                    <a:pt x="172647" y="53997"/>
                    <a:pt x="85626" y="-46857"/>
                    <a:pt x="22854" y="27102"/>
                  </a:cubicBezTo>
                  <a:cubicBezTo>
                    <a:pt x="-74914" y="142341"/>
                    <a:pt x="172647" y="271412"/>
                    <a:pt x="172647" y="271412"/>
                  </a:cubicBezTo>
                  <a:lnTo>
                    <a:pt x="172647" y="271963"/>
                  </a:lnTo>
                  <a:cubicBezTo>
                    <a:pt x="172647" y="271963"/>
                    <a:pt x="431065" y="142286"/>
                    <a:pt x="333297" y="27047"/>
                  </a:cubicBezTo>
                  <a:close/>
                </a:path>
              </a:pathLst>
            </a:custGeom>
            <a:solidFill>
              <a:schemeClr val="accent4"/>
            </a:solidFill>
            <a:ln w="102285" cap="rnd">
              <a:solidFill>
                <a:schemeClr val="accent4"/>
              </a:solidFill>
              <a:prstDash val="solid"/>
              <a:round/>
            </a:ln>
          </p:spPr>
          <p:txBody>
            <a:bodyPr/>
            <a:lstStyle/>
            <a:p>
              <a:endParaRPr lang="en-US"/>
            </a:p>
          </p:txBody>
        </p:sp>
        <p:sp>
          <p:nvSpPr>
            <p:cNvPr id="71" name="Freeform: Shape 70">
              <a:extLst>
                <a:ext uri="{FF2B5EF4-FFF2-40B4-BE49-F238E27FC236}">
                  <a16:creationId xmlns:a16="http://schemas.microsoft.com/office/drawing/2014/main" id="{43C812B9-F725-45E6-2323-2E50B35C07AA}"/>
                </a:ext>
              </a:extLst>
            </p:cNvPr>
            <p:cNvSpPr/>
            <p:nvPr/>
          </p:nvSpPr>
          <p:spPr>
            <a:xfrm>
              <a:off x="7655422" y="1858369"/>
              <a:ext cx="189693" cy="349572"/>
            </a:xfrm>
            <a:custGeom>
              <a:avLst/>
              <a:gdLst>
                <a:gd name="csX0" fmla="*/ 76825 w 189693"/>
                <a:gd name="csY0" fmla="*/ 239349 h 349572"/>
                <a:gd name="csX1" fmla="*/ 134913 w 189693"/>
                <a:gd name="csY1" fmla="*/ 180986 h 349572"/>
                <a:gd name="csX2" fmla="*/ 149352 w 189693"/>
                <a:gd name="csY2" fmla="*/ 146046 h 349572"/>
                <a:gd name="csX3" fmla="*/ 149352 w 189693"/>
                <a:gd name="csY3" fmla="*/ 20171 h 349572"/>
                <a:gd name="csX4" fmla="*/ 169523 w 189693"/>
                <a:gd name="csY4" fmla="*/ 0 h 349572"/>
                <a:gd name="csX5" fmla="*/ 169523 w 189693"/>
                <a:gd name="csY5" fmla="*/ 0 h 349572"/>
                <a:gd name="csX6" fmla="*/ 189694 w 189693"/>
                <a:gd name="csY6" fmla="*/ 20171 h 349572"/>
                <a:gd name="csX7" fmla="*/ 189694 w 189693"/>
                <a:gd name="csY7" fmla="*/ 187655 h 349572"/>
                <a:gd name="csX8" fmla="*/ 171838 w 189693"/>
                <a:gd name="csY8" fmla="*/ 230807 h 349572"/>
                <a:gd name="csX9" fmla="*/ 116506 w 189693"/>
                <a:gd name="csY9" fmla="*/ 286139 h 349572"/>
                <a:gd name="csX10" fmla="*/ 99752 w 189693"/>
                <a:gd name="csY10" fmla="*/ 326646 h 349572"/>
                <a:gd name="csX11" fmla="*/ 99752 w 189693"/>
                <a:gd name="csY11" fmla="*/ 349572 h 349572"/>
                <a:gd name="csX12" fmla="*/ 0 w 189693"/>
                <a:gd name="csY12" fmla="*/ 349572 h 349572"/>
                <a:gd name="csX13" fmla="*/ 0 w 189693"/>
                <a:gd name="csY13" fmla="*/ 250206 h 349572"/>
                <a:gd name="csX14" fmla="*/ 13006 w 189693"/>
                <a:gd name="csY14" fmla="*/ 218793 h 349572"/>
                <a:gd name="csX15" fmla="*/ 78258 w 189693"/>
                <a:gd name="csY15" fmla="*/ 153541 h 349572"/>
                <a:gd name="csX16" fmla="*/ 103610 w 189693"/>
                <a:gd name="csY16" fmla="*/ 153541 h 349572"/>
                <a:gd name="csX17" fmla="*/ 103610 w 189693"/>
                <a:gd name="csY17" fmla="*/ 153541 h 349572"/>
                <a:gd name="csX18" fmla="*/ 103610 w 189693"/>
                <a:gd name="csY18" fmla="*/ 178892 h 349572"/>
                <a:gd name="csX19" fmla="*/ 60237 w 189693"/>
                <a:gd name="csY19" fmla="*/ 222871 h 349572"/>
                <a:gd name="csX20" fmla="*/ 76770 w 189693"/>
                <a:gd name="csY20" fmla="*/ 239405 h 34957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Lst>
              <a:rect l="l" t="t" r="r" b="b"/>
              <a:pathLst>
                <a:path w="189693" h="349572">
                  <a:moveTo>
                    <a:pt x="76825" y="239349"/>
                  </a:moveTo>
                  <a:lnTo>
                    <a:pt x="134913" y="180986"/>
                  </a:lnTo>
                  <a:cubicBezTo>
                    <a:pt x="144172" y="171728"/>
                    <a:pt x="149352" y="159162"/>
                    <a:pt x="149352" y="146046"/>
                  </a:cubicBezTo>
                  <a:lnTo>
                    <a:pt x="149352" y="20171"/>
                  </a:lnTo>
                  <a:cubicBezTo>
                    <a:pt x="149352" y="9038"/>
                    <a:pt x="158391" y="0"/>
                    <a:pt x="169523" y="0"/>
                  </a:cubicBezTo>
                  <a:lnTo>
                    <a:pt x="169523" y="0"/>
                  </a:lnTo>
                  <a:cubicBezTo>
                    <a:pt x="180656" y="0"/>
                    <a:pt x="189694" y="9038"/>
                    <a:pt x="189694" y="20171"/>
                  </a:cubicBezTo>
                  <a:lnTo>
                    <a:pt x="189694" y="187655"/>
                  </a:lnTo>
                  <a:cubicBezTo>
                    <a:pt x="189694" y="203858"/>
                    <a:pt x="183246" y="219344"/>
                    <a:pt x="171838" y="230807"/>
                  </a:cubicBezTo>
                  <a:lnTo>
                    <a:pt x="116506" y="286139"/>
                  </a:lnTo>
                  <a:cubicBezTo>
                    <a:pt x="105759" y="296886"/>
                    <a:pt x="99752" y="311435"/>
                    <a:pt x="99752" y="326646"/>
                  </a:cubicBezTo>
                  <a:lnTo>
                    <a:pt x="99752" y="349572"/>
                  </a:lnTo>
                  <a:lnTo>
                    <a:pt x="0" y="349572"/>
                  </a:lnTo>
                  <a:lnTo>
                    <a:pt x="0" y="250206"/>
                  </a:lnTo>
                  <a:cubicBezTo>
                    <a:pt x="0" y="238413"/>
                    <a:pt x="4685" y="227115"/>
                    <a:pt x="13006" y="218793"/>
                  </a:cubicBezTo>
                  <a:lnTo>
                    <a:pt x="78258" y="153541"/>
                  </a:lnTo>
                  <a:cubicBezTo>
                    <a:pt x="85258" y="146542"/>
                    <a:pt x="96611" y="146542"/>
                    <a:pt x="103610" y="153541"/>
                  </a:cubicBezTo>
                  <a:lnTo>
                    <a:pt x="103610" y="153541"/>
                  </a:lnTo>
                  <a:cubicBezTo>
                    <a:pt x="110609" y="160540"/>
                    <a:pt x="110609" y="171893"/>
                    <a:pt x="103610" y="178892"/>
                  </a:cubicBezTo>
                  <a:lnTo>
                    <a:pt x="60237" y="222871"/>
                  </a:lnTo>
                  <a:lnTo>
                    <a:pt x="76770" y="239405"/>
                  </a:lnTo>
                  <a:close/>
                </a:path>
              </a:pathLst>
            </a:custGeom>
            <a:solidFill>
              <a:schemeClr val="tx2"/>
            </a:solidFill>
            <a:ln w="0" cap="flat">
              <a:noFill/>
              <a:prstDash val="solid"/>
              <a:miter/>
            </a:ln>
          </p:spPr>
          <p:txBody>
            <a:bodyPr/>
            <a:lstStyle/>
            <a:p>
              <a:endParaRPr lang="en-US"/>
            </a:p>
          </p:txBody>
        </p:sp>
        <p:sp>
          <p:nvSpPr>
            <p:cNvPr id="72" name="Freeform: Shape 71">
              <a:extLst>
                <a:ext uri="{FF2B5EF4-FFF2-40B4-BE49-F238E27FC236}">
                  <a16:creationId xmlns:a16="http://schemas.microsoft.com/office/drawing/2014/main" id="{5B8D5BEA-C61D-ABFA-E923-3CB2DD5F3147}"/>
                </a:ext>
              </a:extLst>
            </p:cNvPr>
            <p:cNvSpPr/>
            <p:nvPr/>
          </p:nvSpPr>
          <p:spPr>
            <a:xfrm>
              <a:off x="7253163" y="1858369"/>
              <a:ext cx="189693" cy="349572"/>
            </a:xfrm>
            <a:custGeom>
              <a:avLst/>
              <a:gdLst>
                <a:gd name="csX0" fmla="*/ 112868 w 189693"/>
                <a:gd name="csY0" fmla="*/ 239349 h 349572"/>
                <a:gd name="csX1" fmla="*/ 54781 w 189693"/>
                <a:gd name="csY1" fmla="*/ 180986 h 349572"/>
                <a:gd name="csX2" fmla="*/ 40342 w 189693"/>
                <a:gd name="csY2" fmla="*/ 146046 h 349572"/>
                <a:gd name="csX3" fmla="*/ 40342 w 189693"/>
                <a:gd name="csY3" fmla="*/ 20171 h 349572"/>
                <a:gd name="csX4" fmla="*/ 20171 w 189693"/>
                <a:gd name="csY4" fmla="*/ 0 h 349572"/>
                <a:gd name="csX5" fmla="*/ 20171 w 189693"/>
                <a:gd name="csY5" fmla="*/ 0 h 349572"/>
                <a:gd name="csX6" fmla="*/ 0 w 189693"/>
                <a:gd name="csY6" fmla="*/ 20171 h 349572"/>
                <a:gd name="csX7" fmla="*/ 0 w 189693"/>
                <a:gd name="csY7" fmla="*/ 187655 h 349572"/>
                <a:gd name="csX8" fmla="*/ 17856 w 189693"/>
                <a:gd name="csY8" fmla="*/ 230807 h 349572"/>
                <a:gd name="csX9" fmla="*/ 73188 w 189693"/>
                <a:gd name="csY9" fmla="*/ 286139 h 349572"/>
                <a:gd name="csX10" fmla="*/ 89942 w 189693"/>
                <a:gd name="csY10" fmla="*/ 326646 h 349572"/>
                <a:gd name="csX11" fmla="*/ 89942 w 189693"/>
                <a:gd name="csY11" fmla="*/ 349572 h 349572"/>
                <a:gd name="csX12" fmla="*/ 189694 w 189693"/>
                <a:gd name="csY12" fmla="*/ 349572 h 349572"/>
                <a:gd name="csX13" fmla="*/ 189694 w 189693"/>
                <a:gd name="csY13" fmla="*/ 250206 h 349572"/>
                <a:gd name="csX14" fmla="*/ 176688 w 189693"/>
                <a:gd name="csY14" fmla="*/ 218793 h 349572"/>
                <a:gd name="csX15" fmla="*/ 111436 w 189693"/>
                <a:gd name="csY15" fmla="*/ 153541 h 349572"/>
                <a:gd name="csX16" fmla="*/ 86084 w 189693"/>
                <a:gd name="csY16" fmla="*/ 153541 h 349572"/>
                <a:gd name="csX17" fmla="*/ 86084 w 189693"/>
                <a:gd name="csY17" fmla="*/ 153541 h 349572"/>
                <a:gd name="csX18" fmla="*/ 86084 w 189693"/>
                <a:gd name="csY18" fmla="*/ 178892 h 349572"/>
                <a:gd name="csX19" fmla="*/ 129457 w 189693"/>
                <a:gd name="csY19" fmla="*/ 222871 h 349572"/>
                <a:gd name="csX20" fmla="*/ 112924 w 189693"/>
                <a:gd name="csY20" fmla="*/ 239405 h 34957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Lst>
              <a:rect l="l" t="t" r="r" b="b"/>
              <a:pathLst>
                <a:path w="189693" h="349572">
                  <a:moveTo>
                    <a:pt x="112868" y="239349"/>
                  </a:moveTo>
                  <a:lnTo>
                    <a:pt x="54781" y="180986"/>
                  </a:lnTo>
                  <a:cubicBezTo>
                    <a:pt x="45522" y="171728"/>
                    <a:pt x="40342" y="159162"/>
                    <a:pt x="40342" y="146046"/>
                  </a:cubicBezTo>
                  <a:lnTo>
                    <a:pt x="40342" y="20171"/>
                  </a:lnTo>
                  <a:cubicBezTo>
                    <a:pt x="40342" y="9038"/>
                    <a:pt x="31303" y="0"/>
                    <a:pt x="20171" y="0"/>
                  </a:cubicBezTo>
                  <a:lnTo>
                    <a:pt x="20171" y="0"/>
                  </a:lnTo>
                  <a:cubicBezTo>
                    <a:pt x="9038" y="0"/>
                    <a:pt x="0" y="9038"/>
                    <a:pt x="0" y="20171"/>
                  </a:cubicBezTo>
                  <a:lnTo>
                    <a:pt x="0" y="187655"/>
                  </a:lnTo>
                  <a:cubicBezTo>
                    <a:pt x="0" y="203858"/>
                    <a:pt x="6448" y="219344"/>
                    <a:pt x="17856" y="230807"/>
                  </a:cubicBezTo>
                  <a:lnTo>
                    <a:pt x="73188" y="286139"/>
                  </a:lnTo>
                  <a:cubicBezTo>
                    <a:pt x="83935" y="296886"/>
                    <a:pt x="89942" y="311435"/>
                    <a:pt x="89942" y="326646"/>
                  </a:cubicBezTo>
                  <a:lnTo>
                    <a:pt x="89942" y="349572"/>
                  </a:lnTo>
                  <a:lnTo>
                    <a:pt x="189694" y="349572"/>
                  </a:lnTo>
                  <a:lnTo>
                    <a:pt x="189694" y="250206"/>
                  </a:lnTo>
                  <a:cubicBezTo>
                    <a:pt x="189694" y="238413"/>
                    <a:pt x="185009" y="227115"/>
                    <a:pt x="176688" y="218793"/>
                  </a:cubicBezTo>
                  <a:lnTo>
                    <a:pt x="111436" y="153541"/>
                  </a:lnTo>
                  <a:cubicBezTo>
                    <a:pt x="104436" y="146542"/>
                    <a:pt x="93083" y="146542"/>
                    <a:pt x="86084" y="153541"/>
                  </a:cubicBezTo>
                  <a:lnTo>
                    <a:pt x="86084" y="153541"/>
                  </a:lnTo>
                  <a:cubicBezTo>
                    <a:pt x="79085" y="160540"/>
                    <a:pt x="79085" y="171893"/>
                    <a:pt x="86084" y="178892"/>
                  </a:cubicBezTo>
                  <a:lnTo>
                    <a:pt x="129457" y="222871"/>
                  </a:lnTo>
                  <a:lnTo>
                    <a:pt x="112924" y="239405"/>
                  </a:lnTo>
                  <a:close/>
                </a:path>
              </a:pathLst>
            </a:custGeom>
            <a:solidFill>
              <a:schemeClr val="tx2"/>
            </a:solidFill>
            <a:ln w="0" cap="flat">
              <a:noFill/>
              <a:prstDash val="solid"/>
              <a:miter/>
            </a:ln>
          </p:spPr>
          <p:txBody>
            <a:bodyPr/>
            <a:lstStyle/>
            <a:p>
              <a:endParaRPr lang="en-US"/>
            </a:p>
          </p:txBody>
        </p:sp>
      </p:grpSp>
      <p:grpSp>
        <p:nvGrpSpPr>
          <p:cNvPr id="82" name="Group 81">
            <a:extLst>
              <a:ext uri="{FF2B5EF4-FFF2-40B4-BE49-F238E27FC236}">
                <a16:creationId xmlns:a16="http://schemas.microsoft.com/office/drawing/2014/main" id="{33791A3E-BDB3-956A-F2ED-BB7BE3F17E67}"/>
              </a:ext>
            </a:extLst>
          </p:cNvPr>
          <p:cNvGrpSpPr/>
          <p:nvPr/>
        </p:nvGrpSpPr>
        <p:grpSpPr>
          <a:xfrm>
            <a:off x="7253163" y="5436366"/>
            <a:ext cx="508397" cy="515519"/>
            <a:chOff x="7300413" y="5321398"/>
            <a:chExt cx="450882" cy="457198"/>
          </a:xfrm>
        </p:grpSpPr>
        <p:grpSp>
          <p:nvGrpSpPr>
            <p:cNvPr id="77" name="Graphic 74">
              <a:extLst>
                <a:ext uri="{FF2B5EF4-FFF2-40B4-BE49-F238E27FC236}">
                  <a16:creationId xmlns:a16="http://schemas.microsoft.com/office/drawing/2014/main" id="{85B94990-7B13-A6EF-CB33-96E65F3E36FE}"/>
                </a:ext>
              </a:extLst>
            </p:cNvPr>
            <p:cNvGrpSpPr/>
            <p:nvPr/>
          </p:nvGrpSpPr>
          <p:grpSpPr>
            <a:xfrm>
              <a:off x="7301451" y="5324686"/>
              <a:ext cx="449844" cy="449887"/>
              <a:chOff x="7301451" y="5324686"/>
              <a:chExt cx="449844" cy="449887"/>
            </a:xfrm>
            <a:solidFill>
              <a:srgbClr val="E2EBF6"/>
            </a:solidFill>
          </p:grpSpPr>
          <p:sp>
            <p:nvSpPr>
              <p:cNvPr id="78" name="Freeform: Shape 77">
                <a:extLst>
                  <a:ext uri="{FF2B5EF4-FFF2-40B4-BE49-F238E27FC236}">
                    <a16:creationId xmlns:a16="http://schemas.microsoft.com/office/drawing/2014/main" id="{3613EC39-0C32-2467-D085-C60ED43A4C5A}"/>
                  </a:ext>
                </a:extLst>
              </p:cNvPr>
              <p:cNvSpPr/>
              <p:nvPr/>
            </p:nvSpPr>
            <p:spPr>
              <a:xfrm>
                <a:off x="7302230" y="5691257"/>
                <a:ext cx="82753" cy="82537"/>
              </a:xfrm>
              <a:custGeom>
                <a:avLst/>
                <a:gdLst>
                  <a:gd name="csX0" fmla="*/ 69300 w 82753"/>
                  <a:gd name="csY0" fmla="*/ 43 h 82537"/>
                  <a:gd name="csX1" fmla="*/ 0 w 82753"/>
                  <a:gd name="csY1" fmla="*/ 43 h 82537"/>
                  <a:gd name="csX2" fmla="*/ 260 w 82753"/>
                  <a:gd name="csY2" fmla="*/ 2206 h 82537"/>
                  <a:gd name="csX3" fmla="*/ 77303 w 82753"/>
                  <a:gd name="csY3" fmla="*/ 81715 h 82537"/>
                  <a:gd name="csX4" fmla="*/ 82753 w 82753"/>
                  <a:gd name="csY4" fmla="*/ 82537 h 82537"/>
                  <a:gd name="csX5" fmla="*/ 82753 w 82753"/>
                  <a:gd name="csY5" fmla="*/ 13453 h 82537"/>
                  <a:gd name="csX6" fmla="*/ 69343 w 82753"/>
                  <a:gd name="csY6" fmla="*/ 0 h 82537"/>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82753" h="82537">
                    <a:moveTo>
                      <a:pt x="69300" y="43"/>
                    </a:moveTo>
                    <a:lnTo>
                      <a:pt x="0" y="43"/>
                    </a:lnTo>
                    <a:cubicBezTo>
                      <a:pt x="87" y="779"/>
                      <a:pt x="173" y="1471"/>
                      <a:pt x="260" y="2206"/>
                    </a:cubicBezTo>
                    <a:lnTo>
                      <a:pt x="77303" y="81715"/>
                    </a:lnTo>
                    <a:cubicBezTo>
                      <a:pt x="79076" y="82061"/>
                      <a:pt x="80893" y="82321"/>
                      <a:pt x="82753" y="82537"/>
                    </a:cubicBezTo>
                    <a:lnTo>
                      <a:pt x="82753" y="13453"/>
                    </a:lnTo>
                    <a:cubicBezTo>
                      <a:pt x="82753" y="6056"/>
                      <a:pt x="76740" y="0"/>
                      <a:pt x="69343" y="0"/>
                    </a:cubicBezTo>
                    <a:close/>
                  </a:path>
                </a:pathLst>
              </a:custGeom>
              <a:solidFill>
                <a:srgbClr val="E2EBF6"/>
              </a:solidFill>
              <a:ln w="0" cap="flat">
                <a:noFill/>
                <a:prstDash val="solid"/>
                <a:miter/>
              </a:ln>
            </p:spPr>
            <p:txBody>
              <a:bodyPr/>
              <a:lstStyle/>
              <a:p>
                <a:endParaRPr lang="en-US"/>
              </a:p>
            </p:txBody>
          </p:sp>
          <p:sp>
            <p:nvSpPr>
              <p:cNvPr id="79" name="Freeform: Shape 78">
                <a:extLst>
                  <a:ext uri="{FF2B5EF4-FFF2-40B4-BE49-F238E27FC236}">
                    <a16:creationId xmlns:a16="http://schemas.microsoft.com/office/drawing/2014/main" id="{6D63F642-6873-AA06-2DD5-240C6352AB5B}"/>
                  </a:ext>
                </a:extLst>
              </p:cNvPr>
              <p:cNvSpPr/>
              <p:nvPr/>
            </p:nvSpPr>
            <p:spPr>
              <a:xfrm>
                <a:off x="7301451" y="5324686"/>
                <a:ext cx="449844" cy="449887"/>
              </a:xfrm>
              <a:custGeom>
                <a:avLst/>
                <a:gdLst>
                  <a:gd name="csX0" fmla="*/ 428258 w 449844"/>
                  <a:gd name="csY0" fmla="*/ 0 h 449887"/>
                  <a:gd name="csX1" fmla="*/ 21629 w 449844"/>
                  <a:gd name="csY1" fmla="*/ 0 h 449887"/>
                  <a:gd name="csX2" fmla="*/ 0 w 449844"/>
                  <a:gd name="csY2" fmla="*/ 21629 h 449887"/>
                  <a:gd name="csX3" fmla="*/ 0 w 449844"/>
                  <a:gd name="csY3" fmla="*/ 344986 h 449887"/>
                  <a:gd name="csX4" fmla="*/ 70079 w 449844"/>
                  <a:gd name="csY4" fmla="*/ 344986 h 449887"/>
                  <a:gd name="csX5" fmla="*/ 105118 w 449844"/>
                  <a:gd name="csY5" fmla="*/ 380068 h 449887"/>
                  <a:gd name="csX6" fmla="*/ 105118 w 449844"/>
                  <a:gd name="csY6" fmla="*/ 449887 h 449887"/>
                  <a:gd name="csX7" fmla="*/ 428215 w 449844"/>
                  <a:gd name="csY7" fmla="*/ 449887 h 449887"/>
                  <a:gd name="csX8" fmla="*/ 449844 w 449844"/>
                  <a:gd name="csY8" fmla="*/ 428258 h 449887"/>
                  <a:gd name="csX9" fmla="*/ 449844 w 449844"/>
                  <a:gd name="csY9" fmla="*/ 21629 h 449887"/>
                  <a:gd name="csX10" fmla="*/ 428215 w 449844"/>
                  <a:gd name="csY10" fmla="*/ 0 h 44988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449844" h="449887">
                    <a:moveTo>
                      <a:pt x="428258" y="0"/>
                    </a:moveTo>
                    <a:lnTo>
                      <a:pt x="21629" y="0"/>
                    </a:lnTo>
                    <a:cubicBezTo>
                      <a:pt x="9690" y="0"/>
                      <a:pt x="0" y="9690"/>
                      <a:pt x="0" y="21629"/>
                    </a:cubicBezTo>
                    <a:lnTo>
                      <a:pt x="0" y="344986"/>
                    </a:lnTo>
                    <a:lnTo>
                      <a:pt x="70079" y="344986"/>
                    </a:lnTo>
                    <a:cubicBezTo>
                      <a:pt x="89415" y="344986"/>
                      <a:pt x="105118" y="360732"/>
                      <a:pt x="105118" y="380068"/>
                    </a:cubicBezTo>
                    <a:lnTo>
                      <a:pt x="105118" y="449887"/>
                    </a:lnTo>
                    <a:lnTo>
                      <a:pt x="428215" y="449887"/>
                    </a:lnTo>
                    <a:cubicBezTo>
                      <a:pt x="440154" y="449887"/>
                      <a:pt x="449844" y="440198"/>
                      <a:pt x="449844" y="428258"/>
                    </a:cubicBezTo>
                    <a:lnTo>
                      <a:pt x="449844" y="21629"/>
                    </a:lnTo>
                    <a:cubicBezTo>
                      <a:pt x="449844" y="9690"/>
                      <a:pt x="440154" y="0"/>
                      <a:pt x="428215" y="0"/>
                    </a:cubicBezTo>
                    <a:close/>
                  </a:path>
                </a:pathLst>
              </a:custGeom>
              <a:solidFill>
                <a:srgbClr val="E2EBF6"/>
              </a:solidFill>
              <a:ln w="0" cap="flat">
                <a:noFill/>
                <a:prstDash val="solid"/>
                <a:miter/>
              </a:ln>
            </p:spPr>
            <p:txBody>
              <a:bodyPr/>
              <a:lstStyle/>
              <a:p>
                <a:endParaRPr lang="en-US"/>
              </a:p>
            </p:txBody>
          </p:sp>
        </p:grpSp>
        <p:sp>
          <p:nvSpPr>
            <p:cNvPr id="80" name="Freeform: Shape 79">
              <a:extLst>
                <a:ext uri="{FF2B5EF4-FFF2-40B4-BE49-F238E27FC236}">
                  <a16:creationId xmlns:a16="http://schemas.microsoft.com/office/drawing/2014/main" id="{C3315942-7B3F-2947-1841-A7280DA5AAD3}"/>
                </a:ext>
              </a:extLst>
            </p:cNvPr>
            <p:cNvSpPr/>
            <p:nvPr/>
          </p:nvSpPr>
          <p:spPr>
            <a:xfrm>
              <a:off x="7452034" y="5321398"/>
              <a:ext cx="154994" cy="244626"/>
            </a:xfrm>
            <a:custGeom>
              <a:avLst/>
              <a:gdLst>
                <a:gd name="csX0" fmla="*/ 0 w 154994"/>
                <a:gd name="csY0" fmla="*/ 908 h 244626"/>
                <a:gd name="csX1" fmla="*/ 1471 w 154994"/>
                <a:gd name="csY1" fmla="*/ 244626 h 244626"/>
                <a:gd name="csX2" fmla="*/ 77692 w 154994"/>
                <a:gd name="csY2" fmla="*/ 179263 h 244626"/>
                <a:gd name="csX3" fmla="*/ 77995 w 154994"/>
                <a:gd name="csY3" fmla="*/ 179263 h 244626"/>
                <a:gd name="csX4" fmla="*/ 154995 w 154994"/>
                <a:gd name="csY4" fmla="*/ 243718 h 244626"/>
                <a:gd name="csX5" fmla="*/ 153567 w 154994"/>
                <a:gd name="csY5" fmla="*/ 0 h 244626"/>
                <a:gd name="csX6" fmla="*/ 0 w 154994"/>
                <a:gd name="csY6" fmla="*/ 908 h 24462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4994" h="244626">
                  <a:moveTo>
                    <a:pt x="0" y="908"/>
                  </a:moveTo>
                  <a:lnTo>
                    <a:pt x="1471" y="244626"/>
                  </a:lnTo>
                  <a:lnTo>
                    <a:pt x="77692" y="179263"/>
                  </a:lnTo>
                  <a:lnTo>
                    <a:pt x="77995" y="179263"/>
                  </a:lnTo>
                  <a:lnTo>
                    <a:pt x="154995" y="243718"/>
                  </a:lnTo>
                  <a:lnTo>
                    <a:pt x="153567" y="0"/>
                  </a:lnTo>
                  <a:lnTo>
                    <a:pt x="0" y="908"/>
                  </a:lnTo>
                  <a:close/>
                </a:path>
              </a:pathLst>
            </a:custGeom>
            <a:solidFill>
              <a:schemeClr val="accent4"/>
            </a:solidFill>
            <a:ln w="0" cap="flat">
              <a:solidFill>
                <a:schemeClr val="accent4"/>
              </a:solidFill>
              <a:prstDash val="solid"/>
              <a:miter/>
            </a:ln>
          </p:spPr>
          <p:txBody>
            <a:bodyPr/>
            <a:lstStyle/>
            <a:p>
              <a:endParaRPr lang="en-US"/>
            </a:p>
          </p:txBody>
        </p:sp>
        <p:sp>
          <p:nvSpPr>
            <p:cNvPr id="81" name="Freeform: Shape 80">
              <a:extLst>
                <a:ext uri="{FF2B5EF4-FFF2-40B4-BE49-F238E27FC236}">
                  <a16:creationId xmlns:a16="http://schemas.microsoft.com/office/drawing/2014/main" id="{86575883-9574-494D-DF28-68CAFCC3BC8A}"/>
                </a:ext>
              </a:extLst>
            </p:cNvPr>
            <p:cNvSpPr/>
            <p:nvPr/>
          </p:nvSpPr>
          <p:spPr>
            <a:xfrm>
              <a:off x="7300413" y="5691301"/>
              <a:ext cx="84570" cy="87295"/>
            </a:xfrm>
            <a:custGeom>
              <a:avLst/>
              <a:gdLst>
                <a:gd name="csX0" fmla="*/ 0 w 84570"/>
                <a:gd name="csY0" fmla="*/ 0 h 87295"/>
                <a:gd name="csX1" fmla="*/ 84570 w 84570"/>
                <a:gd name="csY1" fmla="*/ 87295 h 87295"/>
                <a:gd name="csX2" fmla="*/ 84570 w 84570"/>
                <a:gd name="csY2" fmla="*/ 13453 h 87295"/>
                <a:gd name="csX3" fmla="*/ 71160 w 84570"/>
                <a:gd name="csY3" fmla="*/ 0 h 87295"/>
                <a:gd name="csX4" fmla="*/ 43 w 84570"/>
                <a:gd name="csY4" fmla="*/ 0 h 87295"/>
              </a:gdLst>
              <a:ahLst/>
              <a:cxnLst>
                <a:cxn ang="0">
                  <a:pos x="csX0" y="csY0"/>
                </a:cxn>
                <a:cxn ang="0">
                  <a:pos x="csX1" y="csY1"/>
                </a:cxn>
                <a:cxn ang="0">
                  <a:pos x="csX2" y="csY2"/>
                </a:cxn>
                <a:cxn ang="0">
                  <a:pos x="csX3" y="csY3"/>
                </a:cxn>
                <a:cxn ang="0">
                  <a:pos x="csX4" y="csY4"/>
                </a:cxn>
              </a:cxnLst>
              <a:rect l="l" t="t" r="r" b="b"/>
              <a:pathLst>
                <a:path w="84570" h="87295">
                  <a:moveTo>
                    <a:pt x="0" y="0"/>
                  </a:moveTo>
                  <a:lnTo>
                    <a:pt x="84570" y="87295"/>
                  </a:lnTo>
                  <a:lnTo>
                    <a:pt x="84570" y="13453"/>
                  </a:lnTo>
                  <a:cubicBezTo>
                    <a:pt x="84570" y="6056"/>
                    <a:pt x="78557" y="0"/>
                    <a:pt x="71160" y="0"/>
                  </a:cubicBezTo>
                  <a:lnTo>
                    <a:pt x="43" y="0"/>
                  </a:lnTo>
                  <a:close/>
                </a:path>
              </a:pathLst>
            </a:custGeom>
            <a:solidFill>
              <a:srgbClr val="B8CBDE"/>
            </a:solidFill>
            <a:ln w="0" cap="flat">
              <a:noFill/>
              <a:prstDash val="solid"/>
              <a:miter/>
            </a:ln>
          </p:spPr>
          <p:txBody>
            <a:bodyPr/>
            <a:lstStyle/>
            <a:p>
              <a:endParaRPr lang="en-US"/>
            </a:p>
          </p:txBody>
        </p:sp>
      </p:grpSp>
      <p:grpSp>
        <p:nvGrpSpPr>
          <p:cNvPr id="96" name="Group 95">
            <a:extLst>
              <a:ext uri="{FF2B5EF4-FFF2-40B4-BE49-F238E27FC236}">
                <a16:creationId xmlns:a16="http://schemas.microsoft.com/office/drawing/2014/main" id="{7D7F7B9D-B258-386C-4A6B-0DA5BB99D6C0}"/>
              </a:ext>
            </a:extLst>
          </p:cNvPr>
          <p:cNvGrpSpPr/>
          <p:nvPr/>
        </p:nvGrpSpPr>
        <p:grpSpPr>
          <a:xfrm>
            <a:off x="7300413" y="2571593"/>
            <a:ext cx="471258" cy="623530"/>
            <a:chOff x="7302571" y="4314684"/>
            <a:chExt cx="471258" cy="623530"/>
          </a:xfrm>
        </p:grpSpPr>
        <p:sp>
          <p:nvSpPr>
            <p:cNvPr id="85" name="Oval 84">
              <a:extLst>
                <a:ext uri="{FF2B5EF4-FFF2-40B4-BE49-F238E27FC236}">
                  <a16:creationId xmlns:a16="http://schemas.microsoft.com/office/drawing/2014/main" id="{4052EFA7-4766-F51C-970E-74C4E92B165C}"/>
                </a:ext>
              </a:extLst>
            </p:cNvPr>
            <p:cNvSpPr/>
            <p:nvPr/>
          </p:nvSpPr>
          <p:spPr>
            <a:xfrm>
              <a:off x="7470381" y="4314684"/>
              <a:ext cx="135947" cy="135947"/>
            </a:xfrm>
            <a:prstGeom prst="ellipse">
              <a:avLst/>
            </a:prstGeom>
            <a:solidFill>
              <a:srgbClr val="CCDAE8"/>
            </a:solidFill>
            <a:ln w="5271" cap="flat">
              <a:noFill/>
              <a:prstDash val="solid"/>
              <a:miter/>
            </a:ln>
          </p:spPr>
          <p:txBody>
            <a:bodyPr/>
            <a:lstStyle/>
            <a:p>
              <a:endParaRPr lang="en-US"/>
            </a:p>
          </p:txBody>
        </p:sp>
        <p:sp>
          <p:nvSpPr>
            <p:cNvPr id="86" name="Freeform: Shape 85">
              <a:extLst>
                <a:ext uri="{FF2B5EF4-FFF2-40B4-BE49-F238E27FC236}">
                  <a16:creationId xmlns:a16="http://schemas.microsoft.com/office/drawing/2014/main" id="{AB78547A-4E58-3E36-A684-564710DC4750}"/>
                </a:ext>
              </a:extLst>
            </p:cNvPr>
            <p:cNvSpPr/>
            <p:nvPr/>
          </p:nvSpPr>
          <p:spPr>
            <a:xfrm>
              <a:off x="7447115" y="4474437"/>
              <a:ext cx="182676" cy="240243"/>
            </a:xfrm>
            <a:custGeom>
              <a:avLst/>
              <a:gdLst>
                <a:gd name="csX0" fmla="*/ 86839 w 182676"/>
                <a:gd name="csY0" fmla="*/ 240243 h 240243"/>
                <a:gd name="csX1" fmla="*/ 86839 w 182676"/>
                <a:gd name="csY1" fmla="*/ 240243 h 240243"/>
                <a:gd name="csX2" fmla="*/ 129806 w 182676"/>
                <a:gd name="csY2" fmla="*/ 203095 h 240243"/>
                <a:gd name="csX3" fmla="*/ 182676 w 182676"/>
                <a:gd name="csY3" fmla="*/ 37149 h 240243"/>
                <a:gd name="csX4" fmla="*/ 139710 w 182676"/>
                <a:gd name="csY4" fmla="*/ 0 h 240243"/>
                <a:gd name="csX5" fmla="*/ 42967 w 182676"/>
                <a:gd name="csY5" fmla="*/ 0 h 240243"/>
                <a:gd name="csX6" fmla="*/ 0 w 182676"/>
                <a:gd name="csY6" fmla="*/ 37149 h 240243"/>
                <a:gd name="csX7" fmla="*/ 0 w 182676"/>
                <a:gd name="csY7" fmla="*/ 71336 h 240243"/>
                <a:gd name="csX8" fmla="*/ 86839 w 182676"/>
                <a:gd name="csY8" fmla="*/ 240243 h 24024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82676" h="240243">
                  <a:moveTo>
                    <a:pt x="86839" y="240243"/>
                  </a:moveTo>
                  <a:lnTo>
                    <a:pt x="86839" y="240243"/>
                  </a:lnTo>
                  <a:cubicBezTo>
                    <a:pt x="110569" y="240243"/>
                    <a:pt x="129806" y="223612"/>
                    <a:pt x="129806" y="203095"/>
                  </a:cubicBezTo>
                  <a:lnTo>
                    <a:pt x="182676" y="37149"/>
                  </a:lnTo>
                  <a:cubicBezTo>
                    <a:pt x="182676" y="16632"/>
                    <a:pt x="163440" y="0"/>
                    <a:pt x="139710" y="0"/>
                  </a:cubicBezTo>
                  <a:lnTo>
                    <a:pt x="42967" y="0"/>
                  </a:lnTo>
                  <a:cubicBezTo>
                    <a:pt x="19237" y="0"/>
                    <a:pt x="0" y="16632"/>
                    <a:pt x="0" y="37149"/>
                  </a:cubicBezTo>
                  <a:lnTo>
                    <a:pt x="0" y="71336"/>
                  </a:lnTo>
                  <a:cubicBezTo>
                    <a:pt x="0" y="138047"/>
                    <a:pt x="9679" y="240243"/>
                    <a:pt x="86839" y="240243"/>
                  </a:cubicBezTo>
                  <a:close/>
                </a:path>
              </a:pathLst>
            </a:custGeom>
            <a:solidFill>
              <a:srgbClr val="CCDAE8"/>
            </a:solidFill>
            <a:ln w="5271" cap="flat">
              <a:noFill/>
              <a:prstDash val="solid"/>
              <a:miter/>
            </a:ln>
          </p:spPr>
          <p:txBody>
            <a:bodyPr/>
            <a:lstStyle/>
            <a:p>
              <a:endParaRPr lang="en-US"/>
            </a:p>
          </p:txBody>
        </p:sp>
        <p:sp>
          <p:nvSpPr>
            <p:cNvPr id="87" name="Freeform: Shape 86">
              <a:extLst>
                <a:ext uri="{FF2B5EF4-FFF2-40B4-BE49-F238E27FC236}">
                  <a16:creationId xmlns:a16="http://schemas.microsoft.com/office/drawing/2014/main" id="{BBDFACE4-3B00-76AF-9065-A6E30E813CFF}"/>
                </a:ext>
              </a:extLst>
            </p:cNvPr>
            <p:cNvSpPr/>
            <p:nvPr/>
          </p:nvSpPr>
          <p:spPr>
            <a:xfrm>
              <a:off x="7447115" y="4474437"/>
              <a:ext cx="182676" cy="240243"/>
            </a:xfrm>
            <a:custGeom>
              <a:avLst/>
              <a:gdLst>
                <a:gd name="csX0" fmla="*/ 95838 w 182676"/>
                <a:gd name="csY0" fmla="*/ 240243 h 240243"/>
                <a:gd name="csX1" fmla="*/ 95838 w 182676"/>
                <a:gd name="csY1" fmla="*/ 240243 h 240243"/>
                <a:gd name="csX2" fmla="*/ 52870 w 182676"/>
                <a:gd name="csY2" fmla="*/ 203095 h 240243"/>
                <a:gd name="csX3" fmla="*/ 0 w 182676"/>
                <a:gd name="csY3" fmla="*/ 37149 h 240243"/>
                <a:gd name="csX4" fmla="*/ 42967 w 182676"/>
                <a:gd name="csY4" fmla="*/ 0 h 240243"/>
                <a:gd name="csX5" fmla="*/ 139710 w 182676"/>
                <a:gd name="csY5" fmla="*/ 0 h 240243"/>
                <a:gd name="csX6" fmla="*/ 182676 w 182676"/>
                <a:gd name="csY6" fmla="*/ 37149 h 240243"/>
                <a:gd name="csX7" fmla="*/ 182676 w 182676"/>
                <a:gd name="csY7" fmla="*/ 71336 h 240243"/>
                <a:gd name="csX8" fmla="*/ 95838 w 182676"/>
                <a:gd name="csY8" fmla="*/ 240243 h 24024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82676" h="240243">
                  <a:moveTo>
                    <a:pt x="95838" y="240243"/>
                  </a:moveTo>
                  <a:lnTo>
                    <a:pt x="95838" y="240243"/>
                  </a:lnTo>
                  <a:cubicBezTo>
                    <a:pt x="72108" y="240243"/>
                    <a:pt x="52870" y="223612"/>
                    <a:pt x="52870" y="203095"/>
                  </a:cubicBezTo>
                  <a:lnTo>
                    <a:pt x="0" y="37149"/>
                  </a:lnTo>
                  <a:cubicBezTo>
                    <a:pt x="0" y="16632"/>
                    <a:pt x="19237" y="0"/>
                    <a:pt x="42967" y="0"/>
                  </a:cubicBezTo>
                  <a:lnTo>
                    <a:pt x="139710" y="0"/>
                  </a:lnTo>
                  <a:cubicBezTo>
                    <a:pt x="163440" y="0"/>
                    <a:pt x="182676" y="16632"/>
                    <a:pt x="182676" y="37149"/>
                  </a:cubicBezTo>
                  <a:lnTo>
                    <a:pt x="182676" y="71336"/>
                  </a:lnTo>
                  <a:cubicBezTo>
                    <a:pt x="182676" y="138047"/>
                    <a:pt x="172997" y="240243"/>
                    <a:pt x="95838" y="240243"/>
                  </a:cubicBezTo>
                  <a:close/>
                </a:path>
              </a:pathLst>
            </a:custGeom>
            <a:solidFill>
              <a:srgbClr val="CCDAE8"/>
            </a:solidFill>
            <a:ln w="5271" cap="flat">
              <a:noFill/>
              <a:prstDash val="solid"/>
              <a:miter/>
            </a:ln>
          </p:spPr>
          <p:txBody>
            <a:bodyPr/>
            <a:lstStyle/>
            <a:p>
              <a:endParaRPr lang="en-US"/>
            </a:p>
          </p:txBody>
        </p:sp>
        <p:sp>
          <p:nvSpPr>
            <p:cNvPr id="88" name="Freeform: Shape 87">
              <a:extLst>
                <a:ext uri="{FF2B5EF4-FFF2-40B4-BE49-F238E27FC236}">
                  <a16:creationId xmlns:a16="http://schemas.microsoft.com/office/drawing/2014/main" id="{4E940233-2E11-6C29-BB1D-95FB1246A9CF}"/>
                </a:ext>
              </a:extLst>
            </p:cNvPr>
            <p:cNvSpPr/>
            <p:nvPr/>
          </p:nvSpPr>
          <p:spPr>
            <a:xfrm>
              <a:off x="7410443" y="4702586"/>
              <a:ext cx="57641" cy="235628"/>
            </a:xfrm>
            <a:custGeom>
              <a:avLst/>
              <a:gdLst>
                <a:gd name="csX0" fmla="*/ 13558 w 57641"/>
                <a:gd name="csY0" fmla="*/ 0 h 235628"/>
                <a:gd name="csX1" fmla="*/ 13558 w 57641"/>
                <a:gd name="csY1" fmla="*/ 0 h 235628"/>
                <a:gd name="csX2" fmla="*/ 0 w 57641"/>
                <a:gd name="csY2" fmla="*/ 13558 h 235628"/>
                <a:gd name="csX3" fmla="*/ 0 w 57641"/>
                <a:gd name="csY3" fmla="*/ 222073 h 235628"/>
                <a:gd name="csX4" fmla="*/ 13558 w 57641"/>
                <a:gd name="csY4" fmla="*/ 235629 h 235628"/>
                <a:gd name="csX5" fmla="*/ 36215 w 57641"/>
                <a:gd name="csY5" fmla="*/ 235629 h 235628"/>
                <a:gd name="csX6" fmla="*/ 49773 w 57641"/>
                <a:gd name="csY6" fmla="*/ 222073 h 235628"/>
                <a:gd name="csX7" fmla="*/ 57641 w 57641"/>
                <a:gd name="csY7" fmla="*/ 44084 h 235628"/>
                <a:gd name="csX8" fmla="*/ 13558 w 57641"/>
                <a:gd name="csY8" fmla="*/ 0 h 23562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57641" h="235628">
                  <a:moveTo>
                    <a:pt x="13558" y="0"/>
                  </a:moveTo>
                  <a:lnTo>
                    <a:pt x="13558" y="0"/>
                  </a:lnTo>
                  <a:cubicBezTo>
                    <a:pt x="6070" y="0"/>
                    <a:pt x="0" y="6070"/>
                    <a:pt x="0" y="13558"/>
                  </a:cubicBezTo>
                  <a:lnTo>
                    <a:pt x="0" y="222073"/>
                  </a:lnTo>
                  <a:cubicBezTo>
                    <a:pt x="0" y="229560"/>
                    <a:pt x="6070" y="235629"/>
                    <a:pt x="13558" y="235629"/>
                  </a:cubicBezTo>
                  <a:lnTo>
                    <a:pt x="36215" y="235629"/>
                  </a:lnTo>
                  <a:cubicBezTo>
                    <a:pt x="43703" y="235629"/>
                    <a:pt x="49773" y="229560"/>
                    <a:pt x="49773" y="222073"/>
                  </a:cubicBezTo>
                  <a:lnTo>
                    <a:pt x="57641" y="44084"/>
                  </a:lnTo>
                  <a:cubicBezTo>
                    <a:pt x="57641" y="19737"/>
                    <a:pt x="37905" y="0"/>
                    <a:pt x="13558" y="0"/>
                  </a:cubicBezTo>
                  <a:close/>
                </a:path>
              </a:pathLst>
            </a:custGeom>
            <a:solidFill>
              <a:schemeClr val="accent4"/>
            </a:solidFill>
            <a:ln w="5271" cap="flat">
              <a:noFill/>
              <a:prstDash val="solid"/>
              <a:miter/>
            </a:ln>
          </p:spPr>
          <p:txBody>
            <a:bodyPr/>
            <a:lstStyle/>
            <a:p>
              <a:endParaRPr lang="en-US"/>
            </a:p>
          </p:txBody>
        </p:sp>
        <p:sp>
          <p:nvSpPr>
            <p:cNvPr id="89" name="Oval 88">
              <a:extLst>
                <a:ext uri="{FF2B5EF4-FFF2-40B4-BE49-F238E27FC236}">
                  <a16:creationId xmlns:a16="http://schemas.microsoft.com/office/drawing/2014/main" id="{0028588F-54BD-C11D-5EFD-0E6FEFAF85C3}"/>
                </a:ext>
              </a:extLst>
            </p:cNvPr>
            <p:cNvSpPr/>
            <p:nvPr/>
          </p:nvSpPr>
          <p:spPr>
            <a:xfrm>
              <a:off x="7334199" y="4419876"/>
              <a:ext cx="135947" cy="135947"/>
            </a:xfrm>
            <a:prstGeom prst="ellipse">
              <a:avLst/>
            </a:prstGeom>
            <a:solidFill>
              <a:schemeClr val="accent4"/>
            </a:solidFill>
            <a:ln w="5271" cap="flat">
              <a:noFill/>
              <a:prstDash val="solid"/>
              <a:miter/>
            </a:ln>
          </p:spPr>
          <p:txBody>
            <a:bodyPr/>
            <a:lstStyle/>
            <a:p>
              <a:endParaRPr lang="en-US"/>
            </a:p>
          </p:txBody>
        </p:sp>
        <p:sp>
          <p:nvSpPr>
            <p:cNvPr id="90" name="Freeform: Shape 89">
              <a:extLst>
                <a:ext uri="{FF2B5EF4-FFF2-40B4-BE49-F238E27FC236}">
                  <a16:creationId xmlns:a16="http://schemas.microsoft.com/office/drawing/2014/main" id="{9B81C744-7084-CF5A-C192-BF353E961478}"/>
                </a:ext>
              </a:extLst>
            </p:cNvPr>
            <p:cNvSpPr/>
            <p:nvPr/>
          </p:nvSpPr>
          <p:spPr>
            <a:xfrm>
              <a:off x="7333076" y="4702586"/>
              <a:ext cx="57641" cy="235628"/>
            </a:xfrm>
            <a:custGeom>
              <a:avLst/>
              <a:gdLst>
                <a:gd name="csX0" fmla="*/ 13558 w 57641"/>
                <a:gd name="csY0" fmla="*/ 0 h 235628"/>
                <a:gd name="csX1" fmla="*/ 13557 w 57641"/>
                <a:gd name="csY1" fmla="*/ 0 h 235628"/>
                <a:gd name="csX2" fmla="*/ 0 w 57641"/>
                <a:gd name="csY2" fmla="*/ 13558 h 235628"/>
                <a:gd name="csX3" fmla="*/ 11016 w 57641"/>
                <a:gd name="csY3" fmla="*/ 222073 h 235628"/>
                <a:gd name="csX4" fmla="*/ 24573 w 57641"/>
                <a:gd name="csY4" fmla="*/ 235629 h 235628"/>
                <a:gd name="csX5" fmla="*/ 44084 w 57641"/>
                <a:gd name="csY5" fmla="*/ 235629 h 235628"/>
                <a:gd name="csX6" fmla="*/ 57641 w 57641"/>
                <a:gd name="csY6" fmla="*/ 222073 h 235628"/>
                <a:gd name="csX7" fmla="*/ 57641 w 57641"/>
                <a:gd name="csY7" fmla="*/ 44084 h 235628"/>
                <a:gd name="csX8" fmla="*/ 13558 w 57641"/>
                <a:gd name="csY8" fmla="*/ 0 h 23562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57641" h="235628">
                  <a:moveTo>
                    <a:pt x="13558" y="0"/>
                  </a:moveTo>
                  <a:lnTo>
                    <a:pt x="13557" y="0"/>
                  </a:lnTo>
                  <a:cubicBezTo>
                    <a:pt x="6070" y="0"/>
                    <a:pt x="0" y="6070"/>
                    <a:pt x="0" y="13558"/>
                  </a:cubicBezTo>
                  <a:lnTo>
                    <a:pt x="11016" y="222073"/>
                  </a:lnTo>
                  <a:cubicBezTo>
                    <a:pt x="11016" y="229560"/>
                    <a:pt x="17086" y="235629"/>
                    <a:pt x="24573" y="235629"/>
                  </a:cubicBezTo>
                  <a:lnTo>
                    <a:pt x="44084" y="235629"/>
                  </a:lnTo>
                  <a:cubicBezTo>
                    <a:pt x="51571" y="235629"/>
                    <a:pt x="57641" y="229560"/>
                    <a:pt x="57641" y="222073"/>
                  </a:cubicBezTo>
                  <a:lnTo>
                    <a:pt x="57641" y="44084"/>
                  </a:lnTo>
                  <a:cubicBezTo>
                    <a:pt x="57641" y="19737"/>
                    <a:pt x="37904" y="0"/>
                    <a:pt x="13558" y="0"/>
                  </a:cubicBezTo>
                  <a:close/>
                </a:path>
              </a:pathLst>
            </a:custGeom>
            <a:solidFill>
              <a:schemeClr val="accent4"/>
            </a:solidFill>
            <a:ln w="5271" cap="flat">
              <a:noFill/>
              <a:prstDash val="solid"/>
              <a:miter/>
            </a:ln>
          </p:spPr>
          <p:txBody>
            <a:bodyPr/>
            <a:lstStyle/>
            <a:p>
              <a:endParaRPr lang="en-US"/>
            </a:p>
          </p:txBody>
        </p:sp>
        <p:sp>
          <p:nvSpPr>
            <p:cNvPr id="91" name="Freeform: Shape 90">
              <a:extLst>
                <a:ext uri="{FF2B5EF4-FFF2-40B4-BE49-F238E27FC236}">
                  <a16:creationId xmlns:a16="http://schemas.microsoft.com/office/drawing/2014/main" id="{4D04109F-4B75-EB3B-7B2F-28D7757FC88B}"/>
                </a:ext>
              </a:extLst>
            </p:cNvPr>
            <p:cNvSpPr/>
            <p:nvPr/>
          </p:nvSpPr>
          <p:spPr>
            <a:xfrm rot="10800000">
              <a:off x="7302571" y="4573077"/>
              <a:ext cx="190746" cy="221229"/>
            </a:xfrm>
            <a:custGeom>
              <a:avLst/>
              <a:gdLst>
                <a:gd name="csX0" fmla="*/ 39176 w 190746"/>
                <a:gd name="csY0" fmla="*/ 0 h 221229"/>
                <a:gd name="csX1" fmla="*/ 63363 w 190746"/>
                <a:gd name="csY1" fmla="*/ 0 h 221229"/>
                <a:gd name="csX2" fmla="*/ 190746 w 190746"/>
                <a:gd name="csY2" fmla="*/ 127384 h 221229"/>
                <a:gd name="csX3" fmla="*/ 190746 w 190746"/>
                <a:gd name="csY3" fmla="*/ 182054 h 221229"/>
                <a:gd name="csX4" fmla="*/ 151570 w 190746"/>
                <a:gd name="csY4" fmla="*/ 221230 h 221229"/>
                <a:gd name="csX5" fmla="*/ 39176 w 190746"/>
                <a:gd name="csY5" fmla="*/ 221230 h 221229"/>
                <a:gd name="csX6" fmla="*/ 0 w 190746"/>
                <a:gd name="csY6" fmla="*/ 182054 h 221229"/>
                <a:gd name="csX7" fmla="*/ 0 w 190746"/>
                <a:gd name="csY7" fmla="*/ 39176 h 221229"/>
                <a:gd name="csX8" fmla="*/ 39176 w 190746"/>
                <a:gd name="csY8" fmla="*/ 0 h 22122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90746" h="221229">
                  <a:moveTo>
                    <a:pt x="39176" y="0"/>
                  </a:moveTo>
                  <a:lnTo>
                    <a:pt x="63363" y="0"/>
                  </a:lnTo>
                  <a:cubicBezTo>
                    <a:pt x="133667" y="0"/>
                    <a:pt x="190746" y="57079"/>
                    <a:pt x="190746" y="127384"/>
                  </a:cubicBezTo>
                  <a:lnTo>
                    <a:pt x="190746" y="182054"/>
                  </a:lnTo>
                  <a:cubicBezTo>
                    <a:pt x="190746" y="203677"/>
                    <a:pt x="173192" y="221230"/>
                    <a:pt x="151570" y="221230"/>
                  </a:cubicBezTo>
                  <a:lnTo>
                    <a:pt x="39176" y="221230"/>
                  </a:lnTo>
                  <a:cubicBezTo>
                    <a:pt x="17554" y="221230"/>
                    <a:pt x="0" y="203677"/>
                    <a:pt x="0" y="182054"/>
                  </a:cubicBezTo>
                  <a:lnTo>
                    <a:pt x="0" y="39176"/>
                  </a:lnTo>
                  <a:cubicBezTo>
                    <a:pt x="0" y="17554"/>
                    <a:pt x="17554" y="0"/>
                    <a:pt x="39176" y="0"/>
                  </a:cubicBezTo>
                  <a:close/>
                </a:path>
              </a:pathLst>
            </a:custGeom>
            <a:solidFill>
              <a:schemeClr val="accent4"/>
            </a:solidFill>
            <a:ln w="5271" cap="flat">
              <a:noFill/>
              <a:prstDash val="solid"/>
              <a:miter/>
            </a:ln>
          </p:spPr>
          <p:txBody>
            <a:bodyPr/>
            <a:lstStyle/>
            <a:p>
              <a:endParaRPr lang="en-US"/>
            </a:p>
          </p:txBody>
        </p:sp>
        <p:sp>
          <p:nvSpPr>
            <p:cNvPr id="92" name="Freeform: Shape 91">
              <a:extLst>
                <a:ext uri="{FF2B5EF4-FFF2-40B4-BE49-F238E27FC236}">
                  <a16:creationId xmlns:a16="http://schemas.microsoft.com/office/drawing/2014/main" id="{F8636EE1-A589-7A33-27D6-A01926734472}"/>
                </a:ext>
              </a:extLst>
            </p:cNvPr>
            <p:cNvSpPr/>
            <p:nvPr/>
          </p:nvSpPr>
          <p:spPr>
            <a:xfrm>
              <a:off x="7608317" y="4702586"/>
              <a:ext cx="57641" cy="235628"/>
            </a:xfrm>
            <a:custGeom>
              <a:avLst/>
              <a:gdLst>
                <a:gd name="csX0" fmla="*/ 44084 w 57641"/>
                <a:gd name="csY0" fmla="*/ 0 h 235628"/>
                <a:gd name="csX1" fmla="*/ 44084 w 57641"/>
                <a:gd name="csY1" fmla="*/ 0 h 235628"/>
                <a:gd name="csX2" fmla="*/ 57641 w 57641"/>
                <a:gd name="csY2" fmla="*/ 13558 h 235628"/>
                <a:gd name="csX3" fmla="*/ 57641 w 57641"/>
                <a:gd name="csY3" fmla="*/ 222073 h 235628"/>
                <a:gd name="csX4" fmla="*/ 44084 w 57641"/>
                <a:gd name="csY4" fmla="*/ 235629 h 235628"/>
                <a:gd name="csX5" fmla="*/ 21426 w 57641"/>
                <a:gd name="csY5" fmla="*/ 235629 h 235628"/>
                <a:gd name="csX6" fmla="*/ 7868 w 57641"/>
                <a:gd name="csY6" fmla="*/ 222073 h 235628"/>
                <a:gd name="csX7" fmla="*/ 0 w 57641"/>
                <a:gd name="csY7" fmla="*/ 44084 h 235628"/>
                <a:gd name="csX8" fmla="*/ 44084 w 57641"/>
                <a:gd name="csY8" fmla="*/ 0 h 23562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57641" h="235628">
                  <a:moveTo>
                    <a:pt x="44084" y="0"/>
                  </a:moveTo>
                  <a:lnTo>
                    <a:pt x="44084" y="0"/>
                  </a:lnTo>
                  <a:cubicBezTo>
                    <a:pt x="51571" y="0"/>
                    <a:pt x="57641" y="6070"/>
                    <a:pt x="57641" y="13558"/>
                  </a:cubicBezTo>
                  <a:lnTo>
                    <a:pt x="57641" y="222073"/>
                  </a:lnTo>
                  <a:cubicBezTo>
                    <a:pt x="57641" y="229560"/>
                    <a:pt x="51571" y="235629"/>
                    <a:pt x="44084" y="235629"/>
                  </a:cubicBezTo>
                  <a:lnTo>
                    <a:pt x="21426" y="235629"/>
                  </a:lnTo>
                  <a:cubicBezTo>
                    <a:pt x="13938" y="235629"/>
                    <a:pt x="7868" y="229560"/>
                    <a:pt x="7868" y="222073"/>
                  </a:cubicBezTo>
                  <a:lnTo>
                    <a:pt x="0" y="44084"/>
                  </a:lnTo>
                  <a:cubicBezTo>
                    <a:pt x="0" y="19737"/>
                    <a:pt x="19737" y="0"/>
                    <a:pt x="44084" y="0"/>
                  </a:cubicBezTo>
                  <a:close/>
                </a:path>
              </a:pathLst>
            </a:custGeom>
            <a:solidFill>
              <a:schemeClr val="tx2"/>
            </a:solidFill>
            <a:ln w="5271" cap="flat">
              <a:noFill/>
              <a:prstDash val="solid"/>
              <a:miter/>
            </a:ln>
          </p:spPr>
          <p:txBody>
            <a:bodyPr/>
            <a:lstStyle/>
            <a:p>
              <a:endParaRPr lang="en-US"/>
            </a:p>
          </p:txBody>
        </p:sp>
        <p:sp>
          <p:nvSpPr>
            <p:cNvPr id="93" name="Oval 92">
              <a:extLst>
                <a:ext uri="{FF2B5EF4-FFF2-40B4-BE49-F238E27FC236}">
                  <a16:creationId xmlns:a16="http://schemas.microsoft.com/office/drawing/2014/main" id="{A1DEF5CD-3D55-360F-CFD6-7AEF0C72EC09}"/>
                </a:ext>
              </a:extLst>
            </p:cNvPr>
            <p:cNvSpPr/>
            <p:nvPr/>
          </p:nvSpPr>
          <p:spPr>
            <a:xfrm>
              <a:off x="7606254" y="4419876"/>
              <a:ext cx="135947" cy="135947"/>
            </a:xfrm>
            <a:prstGeom prst="ellipse">
              <a:avLst/>
            </a:prstGeom>
            <a:solidFill>
              <a:schemeClr val="tx2"/>
            </a:solidFill>
            <a:ln w="5271" cap="flat">
              <a:noFill/>
              <a:prstDash val="solid"/>
              <a:miter/>
            </a:ln>
          </p:spPr>
          <p:txBody>
            <a:bodyPr/>
            <a:lstStyle/>
            <a:p>
              <a:endParaRPr lang="en-US"/>
            </a:p>
          </p:txBody>
        </p:sp>
        <p:sp>
          <p:nvSpPr>
            <p:cNvPr id="94" name="Freeform: Shape 93">
              <a:extLst>
                <a:ext uri="{FF2B5EF4-FFF2-40B4-BE49-F238E27FC236}">
                  <a16:creationId xmlns:a16="http://schemas.microsoft.com/office/drawing/2014/main" id="{D5A9BCB4-FDEE-F8C5-229A-6550D8AF078C}"/>
                </a:ext>
              </a:extLst>
            </p:cNvPr>
            <p:cNvSpPr/>
            <p:nvPr/>
          </p:nvSpPr>
          <p:spPr>
            <a:xfrm>
              <a:off x="7690956" y="4702586"/>
              <a:ext cx="57639" cy="235628"/>
            </a:xfrm>
            <a:custGeom>
              <a:avLst/>
              <a:gdLst>
                <a:gd name="csX0" fmla="*/ 44084 w 57639"/>
                <a:gd name="csY0" fmla="*/ 0 h 235628"/>
                <a:gd name="csX1" fmla="*/ 44084 w 57639"/>
                <a:gd name="csY1" fmla="*/ 0 h 235628"/>
                <a:gd name="csX2" fmla="*/ 57639 w 57639"/>
                <a:gd name="csY2" fmla="*/ 13558 h 235628"/>
                <a:gd name="csX3" fmla="*/ 46625 w 57639"/>
                <a:gd name="csY3" fmla="*/ 222073 h 235628"/>
                <a:gd name="csX4" fmla="*/ 33069 w 57639"/>
                <a:gd name="csY4" fmla="*/ 235629 h 235628"/>
                <a:gd name="csX5" fmla="*/ 13556 w 57639"/>
                <a:gd name="csY5" fmla="*/ 235629 h 235628"/>
                <a:gd name="csX6" fmla="*/ 0 w 57639"/>
                <a:gd name="csY6" fmla="*/ 222073 h 235628"/>
                <a:gd name="csX7" fmla="*/ 0 w 57639"/>
                <a:gd name="csY7" fmla="*/ 44084 h 235628"/>
                <a:gd name="csX8" fmla="*/ 44084 w 57639"/>
                <a:gd name="csY8" fmla="*/ 0 h 23562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57639" h="235628">
                  <a:moveTo>
                    <a:pt x="44084" y="0"/>
                  </a:moveTo>
                  <a:lnTo>
                    <a:pt x="44084" y="0"/>
                  </a:lnTo>
                  <a:cubicBezTo>
                    <a:pt x="51571" y="0"/>
                    <a:pt x="57639" y="6070"/>
                    <a:pt x="57639" y="13558"/>
                  </a:cubicBezTo>
                  <a:lnTo>
                    <a:pt x="46625" y="222073"/>
                  </a:lnTo>
                  <a:cubicBezTo>
                    <a:pt x="46625" y="229560"/>
                    <a:pt x="40556" y="235629"/>
                    <a:pt x="33069" y="235629"/>
                  </a:cubicBezTo>
                  <a:lnTo>
                    <a:pt x="13556" y="235629"/>
                  </a:lnTo>
                  <a:cubicBezTo>
                    <a:pt x="6069" y="235629"/>
                    <a:pt x="0" y="229560"/>
                    <a:pt x="0" y="222073"/>
                  </a:cubicBezTo>
                  <a:lnTo>
                    <a:pt x="0" y="44084"/>
                  </a:lnTo>
                  <a:cubicBezTo>
                    <a:pt x="0" y="19737"/>
                    <a:pt x="19735" y="0"/>
                    <a:pt x="44084" y="0"/>
                  </a:cubicBezTo>
                  <a:close/>
                </a:path>
              </a:pathLst>
            </a:custGeom>
            <a:solidFill>
              <a:schemeClr val="tx2"/>
            </a:solidFill>
            <a:ln w="5271" cap="flat">
              <a:noFill/>
              <a:prstDash val="solid"/>
              <a:miter/>
            </a:ln>
          </p:spPr>
          <p:txBody>
            <a:bodyPr/>
            <a:lstStyle/>
            <a:p>
              <a:endParaRPr lang="en-US"/>
            </a:p>
          </p:txBody>
        </p:sp>
        <p:sp>
          <p:nvSpPr>
            <p:cNvPr id="95" name="Freeform: Shape 94">
              <a:extLst>
                <a:ext uri="{FF2B5EF4-FFF2-40B4-BE49-F238E27FC236}">
                  <a16:creationId xmlns:a16="http://schemas.microsoft.com/office/drawing/2014/main" id="{1CE244EF-A1DD-F859-40BD-4B8BE31313BE}"/>
                </a:ext>
              </a:extLst>
            </p:cNvPr>
            <p:cNvSpPr/>
            <p:nvPr/>
          </p:nvSpPr>
          <p:spPr>
            <a:xfrm>
              <a:off x="7583084" y="4573077"/>
              <a:ext cx="190745" cy="221229"/>
            </a:xfrm>
            <a:custGeom>
              <a:avLst/>
              <a:gdLst>
                <a:gd name="csX0" fmla="*/ 63362 w 190745"/>
                <a:gd name="csY0" fmla="*/ 221230 h 221229"/>
                <a:gd name="csX1" fmla="*/ 39176 w 190745"/>
                <a:gd name="csY1" fmla="*/ 221230 h 221229"/>
                <a:gd name="csX2" fmla="*/ 0 w 190745"/>
                <a:gd name="csY2" fmla="*/ 182054 h 221229"/>
                <a:gd name="csX3" fmla="*/ 0 w 190745"/>
                <a:gd name="csY3" fmla="*/ 39176 h 221229"/>
                <a:gd name="csX4" fmla="*/ 39176 w 190745"/>
                <a:gd name="csY4" fmla="*/ 0 h 221229"/>
                <a:gd name="csX5" fmla="*/ 151570 w 190745"/>
                <a:gd name="csY5" fmla="*/ 0 h 221229"/>
                <a:gd name="csX6" fmla="*/ 190745 w 190745"/>
                <a:gd name="csY6" fmla="*/ 39176 h 221229"/>
                <a:gd name="csX7" fmla="*/ 190745 w 190745"/>
                <a:gd name="csY7" fmla="*/ 93847 h 221229"/>
                <a:gd name="csX8" fmla="*/ 63362 w 190745"/>
                <a:gd name="csY8" fmla="*/ 221230 h 22122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90745" h="221229">
                  <a:moveTo>
                    <a:pt x="63362" y="221230"/>
                  </a:moveTo>
                  <a:lnTo>
                    <a:pt x="39176" y="221230"/>
                  </a:lnTo>
                  <a:cubicBezTo>
                    <a:pt x="17540" y="221230"/>
                    <a:pt x="0" y="203693"/>
                    <a:pt x="0" y="182054"/>
                  </a:cubicBezTo>
                  <a:lnTo>
                    <a:pt x="0" y="39176"/>
                  </a:lnTo>
                  <a:cubicBezTo>
                    <a:pt x="0" y="17540"/>
                    <a:pt x="17540" y="0"/>
                    <a:pt x="39176" y="0"/>
                  </a:cubicBezTo>
                  <a:lnTo>
                    <a:pt x="151570" y="0"/>
                  </a:lnTo>
                  <a:cubicBezTo>
                    <a:pt x="173209" y="0"/>
                    <a:pt x="190745" y="17540"/>
                    <a:pt x="190745" y="39176"/>
                  </a:cubicBezTo>
                  <a:lnTo>
                    <a:pt x="190745" y="93847"/>
                  </a:lnTo>
                  <a:cubicBezTo>
                    <a:pt x="190745" y="164199"/>
                    <a:pt x="133712" y="221230"/>
                    <a:pt x="63362" y="221230"/>
                  </a:cubicBezTo>
                  <a:close/>
                </a:path>
              </a:pathLst>
            </a:custGeom>
            <a:solidFill>
              <a:schemeClr val="tx2"/>
            </a:solidFill>
            <a:ln w="5271" cap="flat">
              <a:noFill/>
              <a:prstDash val="solid"/>
              <a:miter/>
            </a:ln>
          </p:spPr>
          <p:txBody>
            <a:bodyPr/>
            <a:lstStyle/>
            <a:p>
              <a:endParaRPr lang="en-US"/>
            </a:p>
          </p:txBody>
        </p:sp>
      </p:grpSp>
    </p:spTree>
    <p:custDataLst>
      <p:tags r:id="rId1"/>
    </p:custDataLst>
    <p:extLst>
      <p:ext uri="{BB962C8B-B14F-4D97-AF65-F5344CB8AC3E}">
        <p14:creationId xmlns:p14="http://schemas.microsoft.com/office/powerpoint/2010/main" val="340405386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0">
                                            <p:txEl>
                                              <p:pRg st="0" end="0"/>
                                            </p:txEl>
                                          </p:spTgt>
                                        </p:tgtEl>
                                        <p:attrNameLst>
                                          <p:attrName>style.visibility</p:attrName>
                                        </p:attrNameLst>
                                      </p:cBhvr>
                                      <p:to>
                                        <p:strVal val="visible"/>
                                      </p:to>
                                    </p:set>
                                    <p:animEffect transition="in" filter="fade">
                                      <p:cBhvr>
                                        <p:cTn id="10" dur="500"/>
                                        <p:tgtEl>
                                          <p:spTgt spid="10">
                                            <p:txEl>
                                              <p:pRg st="0" end="0"/>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15">
                                            <p:txEl>
                                              <p:pRg st="0" end="0"/>
                                            </p:txEl>
                                          </p:spTgt>
                                        </p:tgtEl>
                                        <p:attrNameLst>
                                          <p:attrName>style.visibility</p:attrName>
                                        </p:attrNameLst>
                                      </p:cBhvr>
                                      <p:to>
                                        <p:strVal val="visible"/>
                                      </p:to>
                                    </p:set>
                                    <p:animEffect transition="in" filter="fade">
                                      <p:cBhvr>
                                        <p:cTn id="13" dur="500"/>
                                        <p:tgtEl>
                                          <p:spTgt spid="15">
                                            <p:txEl>
                                              <p:pRg st="0" end="0"/>
                                            </p:txEl>
                                          </p:spTgt>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6" presetClass="entr" presetSubtype="21" fill="hold" nodeType="withEffect">
                                  <p:stCondLst>
                                    <p:cond delay="1000"/>
                                  </p:stCondLst>
                                  <p:childTnLst>
                                    <p:set>
                                      <p:cBhvr>
                                        <p:cTn id="18" dur="1" fill="hold">
                                          <p:stCondLst>
                                            <p:cond delay="0"/>
                                          </p:stCondLst>
                                        </p:cTn>
                                        <p:tgtEl>
                                          <p:spTgt spid="17"/>
                                        </p:tgtEl>
                                        <p:attrNameLst>
                                          <p:attrName>style.visibility</p:attrName>
                                        </p:attrNameLst>
                                      </p:cBhvr>
                                      <p:to>
                                        <p:strVal val="visible"/>
                                      </p:to>
                                    </p:set>
                                    <p:animEffect transition="in" filter="barn(inVertical)">
                                      <p:cBhvr>
                                        <p:cTn id="19" dur="500"/>
                                        <p:tgtEl>
                                          <p:spTgt spid="17"/>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44">
                                            <p:txEl>
                                              <p:pRg st="0" end="0"/>
                                            </p:txEl>
                                          </p:spTgt>
                                        </p:tgtEl>
                                        <p:attrNameLst>
                                          <p:attrName>style.visibility</p:attrName>
                                        </p:attrNameLst>
                                      </p:cBhvr>
                                      <p:to>
                                        <p:strVal val="visible"/>
                                      </p:to>
                                    </p:set>
                                    <p:animEffect transition="in" filter="fade">
                                      <p:cBhvr>
                                        <p:cTn id="22" dur="500"/>
                                        <p:tgtEl>
                                          <p:spTgt spid="44">
                                            <p:txEl>
                                              <p:pRg st="0" end="0"/>
                                            </p:txEl>
                                          </p:spTgt>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66">
                                            <p:txEl>
                                              <p:pRg st="0" end="0"/>
                                            </p:txEl>
                                          </p:spTgt>
                                        </p:tgtEl>
                                        <p:attrNameLst>
                                          <p:attrName>style.visibility</p:attrName>
                                        </p:attrNameLst>
                                      </p:cBhvr>
                                      <p:to>
                                        <p:strVal val="visible"/>
                                      </p:to>
                                    </p:set>
                                    <p:animEffect transition="in" filter="fade">
                                      <p:cBhvr>
                                        <p:cTn id="25" dur="500"/>
                                        <p:tgtEl>
                                          <p:spTgt spid="6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10" grpId="0" build="p"/>
      <p:bldP spid="15" grpId="0" build="p"/>
      <p:bldP spid="16" grpId="0" build="p"/>
      <p:bldP spid="44" grpId="0" build="p"/>
      <p:bldP spid="66"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9BABD7-7EC0-910E-0D02-65631DEC5CA2}"/>
            </a:ext>
          </a:extLst>
        </p:cNvPr>
        <p:cNvGrpSpPr/>
        <p:nvPr/>
      </p:nvGrpSpPr>
      <p:grpSpPr>
        <a:xfrm>
          <a:off x="0" y="0"/>
          <a:ext cx="0" cy="0"/>
          <a:chOff x="0" y="0"/>
          <a:chExt cx="0" cy="0"/>
        </a:xfrm>
      </p:grpSpPr>
      <p:grpSp>
        <p:nvGrpSpPr>
          <p:cNvPr id="30" name="!!VORM">
            <a:extLst>
              <a:ext uri="{FF2B5EF4-FFF2-40B4-BE49-F238E27FC236}">
                <a16:creationId xmlns:a16="http://schemas.microsoft.com/office/drawing/2014/main" id="{8466797C-0E5C-5F34-13EE-B1DD33C72C07}"/>
              </a:ext>
            </a:extLst>
          </p:cNvPr>
          <p:cNvGrpSpPr/>
          <p:nvPr/>
        </p:nvGrpSpPr>
        <p:grpSpPr>
          <a:xfrm>
            <a:off x="-2637331" y="0"/>
            <a:ext cx="8373762" cy="6858000"/>
            <a:chOff x="3818239" y="-1"/>
            <a:chExt cx="8373762" cy="6857999"/>
          </a:xfrm>
        </p:grpSpPr>
        <p:sp>
          <p:nvSpPr>
            <p:cNvPr id="19" name="Rechthoek 18">
              <a:extLst>
                <a:ext uri="{FF2B5EF4-FFF2-40B4-BE49-F238E27FC236}">
                  <a16:creationId xmlns:a16="http://schemas.microsoft.com/office/drawing/2014/main" id="{7623655A-3C38-2620-D192-EB109E9F795C}"/>
                </a:ext>
              </a:extLst>
            </p:cNvPr>
            <p:cNvSpPr/>
            <p:nvPr/>
          </p:nvSpPr>
          <p:spPr>
            <a:xfrm>
              <a:off x="3818239" y="-1"/>
              <a:ext cx="8373761" cy="6857999"/>
            </a:xfrm>
            <a:prstGeom prst="rect">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29" name="Vrije vorm 28">
              <a:extLst>
                <a:ext uri="{FF2B5EF4-FFF2-40B4-BE49-F238E27FC236}">
                  <a16:creationId xmlns:a16="http://schemas.microsoft.com/office/drawing/2014/main" id="{F1EA03DE-FF36-97E1-1A43-B4071B8CAB51}"/>
                </a:ext>
              </a:extLst>
            </p:cNvPr>
            <p:cNvSpPr>
              <a:spLocks/>
            </p:cNvSpPr>
            <p:nvPr/>
          </p:nvSpPr>
          <p:spPr>
            <a:xfrm>
              <a:off x="3818240" y="-1"/>
              <a:ext cx="8373761"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err="1"/>
            </a:p>
          </p:txBody>
        </p:sp>
      </p:grpSp>
      <p:sp>
        <p:nvSpPr>
          <p:cNvPr id="13" name="Titel 12">
            <a:extLst>
              <a:ext uri="{FF2B5EF4-FFF2-40B4-BE49-F238E27FC236}">
                <a16:creationId xmlns:a16="http://schemas.microsoft.com/office/drawing/2014/main" id="{3E704A31-24AE-5CBD-252F-5A54CF632641}"/>
              </a:ext>
            </a:extLst>
          </p:cNvPr>
          <p:cNvSpPr>
            <a:spLocks noGrp="1"/>
          </p:cNvSpPr>
          <p:nvPr>
            <p:ph type="title"/>
          </p:nvPr>
        </p:nvSpPr>
        <p:spPr/>
        <p:txBody>
          <a:bodyPr/>
          <a:lstStyle/>
          <a:p>
            <a:r>
              <a:rPr lang="en-GB"/>
              <a:t>Chapter | dark mode</a:t>
            </a:r>
          </a:p>
        </p:txBody>
      </p:sp>
      <p:sp>
        <p:nvSpPr>
          <p:cNvPr id="11" name="Tijdelijke aanduiding voor dianummer 10">
            <a:extLst>
              <a:ext uri="{FF2B5EF4-FFF2-40B4-BE49-F238E27FC236}">
                <a16:creationId xmlns:a16="http://schemas.microsoft.com/office/drawing/2014/main" id="{3D78C35E-613C-AB93-2F03-78268D21A5E8}"/>
              </a:ext>
            </a:extLst>
          </p:cNvPr>
          <p:cNvSpPr>
            <a:spLocks noGrp="1"/>
          </p:cNvSpPr>
          <p:nvPr>
            <p:ph type="sldNum" sz="quarter" idx="12"/>
          </p:nvPr>
        </p:nvSpPr>
        <p:spPr/>
        <p:txBody>
          <a:bodyPr/>
          <a:lstStyle/>
          <a:p>
            <a:fld id="{9E843DB9-9987-4157-AB9C-CEA8D7D910BB}" type="slidenum">
              <a:rPr lang="en-GB" smtClean="0"/>
              <a:pPr/>
              <a:t>6</a:t>
            </a:fld>
            <a:endParaRPr lang="en-GB"/>
          </a:p>
        </p:txBody>
      </p:sp>
      <p:sp>
        <p:nvSpPr>
          <p:cNvPr id="3" name="Rechthoek 1">
            <a:extLst>
              <a:ext uri="{FF2B5EF4-FFF2-40B4-BE49-F238E27FC236}">
                <a16:creationId xmlns:a16="http://schemas.microsoft.com/office/drawing/2014/main" id="{0E08023C-95B8-1F54-EEA2-A4B03E815DA5}"/>
              </a:ext>
            </a:extLst>
          </p:cNvPr>
          <p:cNvSpPr>
            <a:spLocks/>
          </p:cNvSpPr>
          <p:nvPr/>
        </p:nvSpPr>
        <p:spPr>
          <a:xfrm>
            <a:off x="719138" y="2249377"/>
            <a:ext cx="5609281" cy="29414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4" name="Tijdelijke aanduiding voor tekst 3">
            <a:extLst>
              <a:ext uri="{FF2B5EF4-FFF2-40B4-BE49-F238E27FC236}">
                <a16:creationId xmlns:a16="http://schemas.microsoft.com/office/drawing/2014/main" id="{58ECE522-D5C0-447C-2CA0-491DCF95BDE1}"/>
              </a:ext>
            </a:extLst>
          </p:cNvPr>
          <p:cNvSpPr txBox="1">
            <a:spLocks/>
          </p:cNvSpPr>
          <p:nvPr/>
        </p:nvSpPr>
        <p:spPr>
          <a:xfrm>
            <a:off x="1184679" y="2498732"/>
            <a:ext cx="5288703" cy="666849"/>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a:latin typeface="Arial" panose="020B0604020202020204" pitchFamily="34" charset="0"/>
                <a:cs typeface="Arial" panose="020B0604020202020204" pitchFamily="34" charset="0"/>
              </a:rPr>
              <a:t>Explainability</a:t>
            </a:r>
          </a:p>
        </p:txBody>
      </p:sp>
      <p:sp>
        <p:nvSpPr>
          <p:cNvPr id="5" name="Tijdelijke aanduiding voor tekst 5">
            <a:extLst>
              <a:ext uri="{FF2B5EF4-FFF2-40B4-BE49-F238E27FC236}">
                <a16:creationId xmlns:a16="http://schemas.microsoft.com/office/drawing/2014/main" id="{346EA16D-7FE6-4196-344D-877206921091}"/>
              </a:ext>
            </a:extLst>
          </p:cNvPr>
          <p:cNvSpPr txBox="1">
            <a:spLocks/>
          </p:cNvSpPr>
          <p:nvPr/>
        </p:nvSpPr>
        <p:spPr>
          <a:xfrm>
            <a:off x="1184679" y="3436467"/>
            <a:ext cx="4107757" cy="1483483"/>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pPr marL="342900" indent="-342900">
              <a:buClr>
                <a:schemeClr val="bg1"/>
              </a:buClr>
              <a:buSzPct val="130000"/>
              <a:buFont typeface="Arial" panose="020B0604020202020204" pitchFamily="34" charset="0"/>
              <a:buChar char="•"/>
            </a:pPr>
            <a:r>
              <a:rPr lang="en-US"/>
              <a:t>Causal chain of the process from input to output</a:t>
            </a:r>
          </a:p>
          <a:p>
            <a:pPr marL="342900" indent="-342900">
              <a:buClr>
                <a:schemeClr val="bg1"/>
              </a:buClr>
              <a:buSzPct val="130000"/>
              <a:buFont typeface="Arial" panose="020B0604020202020204" pitchFamily="34" charset="0"/>
              <a:buChar char="•"/>
            </a:pPr>
            <a:r>
              <a:rPr lang="en-US"/>
              <a:t>Why an input-output relationship exists </a:t>
            </a:r>
          </a:p>
        </p:txBody>
      </p:sp>
      <p:sp>
        <p:nvSpPr>
          <p:cNvPr id="6" name="Tijdelijke aanduiding voor tekst 5">
            <a:extLst>
              <a:ext uri="{FF2B5EF4-FFF2-40B4-BE49-F238E27FC236}">
                <a16:creationId xmlns:a16="http://schemas.microsoft.com/office/drawing/2014/main" id="{36DCF6A4-0B9B-53BD-A3BB-717F80169A50}"/>
              </a:ext>
            </a:extLst>
          </p:cNvPr>
          <p:cNvSpPr txBox="1"/>
          <p:nvPr/>
        </p:nvSpPr>
        <p:spPr>
          <a:xfrm>
            <a:off x="8155903" y="5027781"/>
            <a:ext cx="3304577" cy="664797"/>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US">
                <a:solidFill>
                  <a:schemeClr val="tx1"/>
                </a:solidFill>
              </a:rPr>
              <a:t>Complex and opaque internal operations</a:t>
            </a:r>
            <a:endParaRPr lang="en-GB">
              <a:solidFill>
                <a:schemeClr val="tx1"/>
              </a:solidFill>
            </a:endParaRPr>
          </a:p>
        </p:txBody>
      </p:sp>
      <p:sp>
        <p:nvSpPr>
          <p:cNvPr id="10" name="Tijdelijke aanduiding voor tekst 5">
            <a:extLst>
              <a:ext uri="{FF2B5EF4-FFF2-40B4-BE49-F238E27FC236}">
                <a16:creationId xmlns:a16="http://schemas.microsoft.com/office/drawing/2014/main" id="{B79FFE3F-A1BD-B3A3-200F-D49D29CB0E59}"/>
              </a:ext>
            </a:extLst>
          </p:cNvPr>
          <p:cNvSpPr txBox="1"/>
          <p:nvPr/>
        </p:nvSpPr>
        <p:spPr>
          <a:xfrm>
            <a:off x="8155903" y="2994994"/>
            <a:ext cx="3316959" cy="997196"/>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a:solidFill>
                  <a:schemeClr val="tx1"/>
                </a:solidFill>
              </a:rPr>
              <a:t>Safety critical context where some decisions need epistemic reasoning</a:t>
            </a:r>
          </a:p>
        </p:txBody>
      </p:sp>
      <p:sp>
        <p:nvSpPr>
          <p:cNvPr id="15" name="Tijdelijke aanduiding voor tekst 5">
            <a:extLst>
              <a:ext uri="{FF2B5EF4-FFF2-40B4-BE49-F238E27FC236}">
                <a16:creationId xmlns:a16="http://schemas.microsoft.com/office/drawing/2014/main" id="{B7BE064B-196D-49EB-033F-8158A5B2E394}"/>
              </a:ext>
            </a:extLst>
          </p:cNvPr>
          <p:cNvSpPr txBox="1"/>
          <p:nvPr/>
        </p:nvSpPr>
        <p:spPr>
          <a:xfrm>
            <a:off x="6745006" y="1464415"/>
            <a:ext cx="3548417"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b="1">
                <a:solidFill>
                  <a:schemeClr val="tx1"/>
                </a:solidFill>
              </a:rPr>
              <a:t>Road Transport Systems:</a:t>
            </a:r>
          </a:p>
        </p:txBody>
      </p:sp>
      <p:sp>
        <p:nvSpPr>
          <p:cNvPr id="16" name="Tijdelijke aanduiding voor tekst 5">
            <a:extLst>
              <a:ext uri="{FF2B5EF4-FFF2-40B4-BE49-F238E27FC236}">
                <a16:creationId xmlns:a16="http://schemas.microsoft.com/office/drawing/2014/main" id="{71338FCB-A70C-0CB4-E299-630FCCB74BE7}"/>
              </a:ext>
            </a:extLst>
          </p:cNvPr>
          <p:cNvSpPr txBox="1"/>
          <p:nvPr/>
        </p:nvSpPr>
        <p:spPr>
          <a:xfrm>
            <a:off x="6745006" y="4422029"/>
            <a:ext cx="3548417"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b="1">
                <a:solidFill>
                  <a:schemeClr val="tx1"/>
                </a:solidFill>
              </a:rPr>
              <a:t>AI Systems:</a:t>
            </a:r>
          </a:p>
        </p:txBody>
      </p:sp>
      <p:grpSp>
        <p:nvGrpSpPr>
          <p:cNvPr id="43" name="Group 42">
            <a:extLst>
              <a:ext uri="{FF2B5EF4-FFF2-40B4-BE49-F238E27FC236}">
                <a16:creationId xmlns:a16="http://schemas.microsoft.com/office/drawing/2014/main" id="{7C916B3A-0C87-4812-EF39-38732DA825F9}"/>
              </a:ext>
            </a:extLst>
          </p:cNvPr>
          <p:cNvGrpSpPr/>
          <p:nvPr/>
        </p:nvGrpSpPr>
        <p:grpSpPr>
          <a:xfrm>
            <a:off x="7146477" y="5016235"/>
            <a:ext cx="583724" cy="614835"/>
            <a:chOff x="7146477" y="4529222"/>
            <a:chExt cx="583724" cy="614835"/>
          </a:xfrm>
        </p:grpSpPr>
        <p:sp>
          <p:nvSpPr>
            <p:cNvPr id="20" name="Freeform: Shape 19">
              <a:extLst>
                <a:ext uri="{FF2B5EF4-FFF2-40B4-BE49-F238E27FC236}">
                  <a16:creationId xmlns:a16="http://schemas.microsoft.com/office/drawing/2014/main" id="{2436A732-A615-01A9-C9AD-10F495353208}"/>
                </a:ext>
              </a:extLst>
            </p:cNvPr>
            <p:cNvSpPr/>
            <p:nvPr/>
          </p:nvSpPr>
          <p:spPr>
            <a:xfrm>
              <a:off x="7207409" y="4616381"/>
              <a:ext cx="432654" cy="437532"/>
            </a:xfrm>
            <a:custGeom>
              <a:avLst/>
              <a:gdLst>
                <a:gd name="csX0" fmla="*/ 228566 w 432654"/>
                <a:gd name="csY0" fmla="*/ 0 h 437532"/>
                <a:gd name="csX1" fmla="*/ 432654 w 432654"/>
                <a:gd name="csY1" fmla="*/ 86521 h 437532"/>
                <a:gd name="csX2" fmla="*/ 228566 w 432654"/>
                <a:gd name="csY2" fmla="*/ 173042 h 437532"/>
                <a:gd name="csX3" fmla="*/ 24477 w 432654"/>
                <a:gd name="csY3" fmla="*/ 86521 h 437532"/>
                <a:gd name="csX4" fmla="*/ 228566 w 432654"/>
                <a:gd name="csY4" fmla="*/ 0 h 437532"/>
                <a:gd name="csX5" fmla="*/ 0 w 432654"/>
                <a:gd name="csY5" fmla="*/ 110998 h 437532"/>
                <a:gd name="csX6" fmla="*/ 212249 w 432654"/>
                <a:gd name="csY6" fmla="*/ 202434 h 437532"/>
                <a:gd name="csX7" fmla="*/ 212249 w 432654"/>
                <a:gd name="csY7" fmla="*/ 437532 h 437532"/>
                <a:gd name="csX8" fmla="*/ 0 w 432654"/>
                <a:gd name="csY8" fmla="*/ 346093 h 437532"/>
                <a:gd name="csX9" fmla="*/ 0 w 432654"/>
                <a:gd name="csY9" fmla="*/ 110998 h 43753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432654" h="437532">
                  <a:moveTo>
                    <a:pt x="228566" y="0"/>
                  </a:moveTo>
                  <a:lnTo>
                    <a:pt x="432654" y="86521"/>
                  </a:lnTo>
                  <a:cubicBezTo>
                    <a:pt x="352665" y="120813"/>
                    <a:pt x="302055" y="142038"/>
                    <a:pt x="228566" y="173042"/>
                  </a:cubicBezTo>
                  <a:cubicBezTo>
                    <a:pt x="161642" y="143659"/>
                    <a:pt x="91436" y="114276"/>
                    <a:pt x="24477" y="86521"/>
                  </a:cubicBezTo>
                  <a:lnTo>
                    <a:pt x="228566" y="0"/>
                  </a:lnTo>
                  <a:close/>
                  <a:moveTo>
                    <a:pt x="0" y="110998"/>
                  </a:moveTo>
                  <a:cubicBezTo>
                    <a:pt x="32667" y="125689"/>
                    <a:pt x="156733" y="177922"/>
                    <a:pt x="212249" y="202434"/>
                  </a:cubicBezTo>
                  <a:lnTo>
                    <a:pt x="212249" y="437532"/>
                  </a:lnTo>
                  <a:lnTo>
                    <a:pt x="0" y="346093"/>
                  </a:lnTo>
                  <a:lnTo>
                    <a:pt x="0" y="110998"/>
                  </a:lnTo>
                  <a:close/>
                </a:path>
              </a:pathLst>
            </a:custGeom>
            <a:solidFill>
              <a:srgbClr val="CCDAE8"/>
            </a:solidFill>
            <a:ln w="27940" cap="flat">
              <a:solidFill>
                <a:srgbClr val="CCDAE8"/>
              </a:solidFill>
              <a:prstDash val="solid"/>
              <a:round/>
            </a:ln>
          </p:spPr>
          <p:txBody>
            <a:bodyPr/>
            <a:lstStyle/>
            <a:p>
              <a:endParaRPr lang="en-US"/>
            </a:p>
          </p:txBody>
        </p:sp>
        <p:sp>
          <p:nvSpPr>
            <p:cNvPr id="21" name="Freeform: Shape 20">
              <a:extLst>
                <a:ext uri="{FF2B5EF4-FFF2-40B4-BE49-F238E27FC236}">
                  <a16:creationId xmlns:a16="http://schemas.microsoft.com/office/drawing/2014/main" id="{635C3E89-C3D4-7416-74FE-E4E1E73891DD}"/>
                </a:ext>
              </a:extLst>
            </p:cNvPr>
            <p:cNvSpPr/>
            <p:nvPr/>
          </p:nvSpPr>
          <p:spPr>
            <a:xfrm>
              <a:off x="7454367" y="4719551"/>
              <a:ext cx="227666" cy="350252"/>
            </a:xfrm>
            <a:custGeom>
              <a:avLst/>
              <a:gdLst>
                <a:gd name="csX0" fmla="*/ 0 w 227666"/>
                <a:gd name="csY0" fmla="*/ 350252 h 350252"/>
                <a:gd name="csX1" fmla="*/ 0 w 227666"/>
                <a:gd name="csY1" fmla="*/ 98079 h 350252"/>
                <a:gd name="csX2" fmla="*/ 227666 w 227666"/>
                <a:gd name="csY2" fmla="*/ 0 h 350252"/>
                <a:gd name="csX3" fmla="*/ 227666 w 227666"/>
                <a:gd name="csY3" fmla="*/ 252172 h 350252"/>
                <a:gd name="csX4" fmla="*/ 0 w 227666"/>
                <a:gd name="csY4" fmla="*/ 350252 h 350252"/>
              </a:gdLst>
              <a:ahLst/>
              <a:cxnLst>
                <a:cxn ang="0">
                  <a:pos x="csX0" y="csY0"/>
                </a:cxn>
                <a:cxn ang="0">
                  <a:pos x="csX1" y="csY1"/>
                </a:cxn>
                <a:cxn ang="0">
                  <a:pos x="csX2" y="csY2"/>
                </a:cxn>
                <a:cxn ang="0">
                  <a:pos x="csX3" y="csY3"/>
                </a:cxn>
                <a:cxn ang="0">
                  <a:pos x="csX4" y="csY4"/>
                </a:cxn>
              </a:cxnLst>
              <a:rect l="l" t="t" r="r" b="b"/>
              <a:pathLst>
                <a:path w="227666" h="350252">
                  <a:moveTo>
                    <a:pt x="0" y="350252"/>
                  </a:moveTo>
                  <a:lnTo>
                    <a:pt x="0" y="98079"/>
                  </a:lnTo>
                  <a:lnTo>
                    <a:pt x="227666" y="0"/>
                  </a:lnTo>
                  <a:lnTo>
                    <a:pt x="227666" y="252172"/>
                  </a:lnTo>
                  <a:lnTo>
                    <a:pt x="0" y="350252"/>
                  </a:lnTo>
                  <a:close/>
                </a:path>
              </a:pathLst>
            </a:custGeom>
            <a:solidFill>
              <a:schemeClr val="accent6">
                <a:lumMod val="50000"/>
              </a:schemeClr>
            </a:solidFill>
            <a:ln w="27940" cap="flat">
              <a:solidFill>
                <a:schemeClr val="accent6">
                  <a:lumMod val="50000"/>
                </a:schemeClr>
              </a:solidFill>
              <a:prstDash val="solid"/>
              <a:round/>
            </a:ln>
          </p:spPr>
          <p:txBody>
            <a:bodyPr/>
            <a:lstStyle/>
            <a:p>
              <a:endParaRPr lang="en-US"/>
            </a:p>
          </p:txBody>
        </p:sp>
        <p:sp>
          <p:nvSpPr>
            <p:cNvPr id="22" name="Freeform: Shape 21">
              <a:extLst>
                <a:ext uri="{FF2B5EF4-FFF2-40B4-BE49-F238E27FC236}">
                  <a16:creationId xmlns:a16="http://schemas.microsoft.com/office/drawing/2014/main" id="{BCA9FB0D-7076-D562-7A0D-4A247032130C}"/>
                </a:ext>
              </a:extLst>
            </p:cNvPr>
            <p:cNvSpPr/>
            <p:nvPr/>
          </p:nvSpPr>
          <p:spPr>
            <a:xfrm>
              <a:off x="7206971" y="4713814"/>
              <a:ext cx="231369" cy="353139"/>
            </a:xfrm>
            <a:custGeom>
              <a:avLst/>
              <a:gdLst>
                <a:gd name="csX0" fmla="*/ 231370 w 231369"/>
                <a:gd name="csY0" fmla="*/ 353140 h 353139"/>
                <a:gd name="csX1" fmla="*/ 231370 w 231369"/>
                <a:gd name="csY1" fmla="*/ 97979 h 353139"/>
                <a:gd name="csX2" fmla="*/ 0 w 231369"/>
                <a:gd name="csY2" fmla="*/ 0 h 353139"/>
              </a:gdLst>
              <a:ahLst/>
              <a:cxnLst>
                <a:cxn ang="0">
                  <a:pos x="csX0" y="csY0"/>
                </a:cxn>
                <a:cxn ang="0">
                  <a:pos x="csX1" y="csY1"/>
                </a:cxn>
                <a:cxn ang="0">
                  <a:pos x="csX2" y="csY2"/>
                </a:cxn>
              </a:cxnLst>
              <a:rect l="l" t="t" r="r" b="b"/>
              <a:pathLst>
                <a:path w="231369" h="353139">
                  <a:moveTo>
                    <a:pt x="231370" y="353140"/>
                  </a:moveTo>
                  <a:lnTo>
                    <a:pt x="231370" y="97979"/>
                  </a:lnTo>
                  <a:lnTo>
                    <a:pt x="0" y="0"/>
                  </a:lnTo>
                </a:path>
              </a:pathLst>
            </a:custGeom>
            <a:noFill/>
            <a:ln w="33528" cap="flat">
              <a:solidFill>
                <a:srgbClr val="FFFFFF"/>
              </a:solidFill>
              <a:prstDash val="solid"/>
              <a:miter/>
            </a:ln>
          </p:spPr>
          <p:txBody>
            <a:bodyPr/>
            <a:lstStyle/>
            <a:p>
              <a:endParaRPr lang="en-US"/>
            </a:p>
          </p:txBody>
        </p:sp>
        <p:sp>
          <p:nvSpPr>
            <p:cNvPr id="23" name="Freeform: Shape 22">
              <a:extLst>
                <a:ext uri="{FF2B5EF4-FFF2-40B4-BE49-F238E27FC236}">
                  <a16:creationId xmlns:a16="http://schemas.microsoft.com/office/drawing/2014/main" id="{ECCDF8E9-6282-DE1B-9F34-5AF862DDF0B6}"/>
                </a:ext>
              </a:extLst>
            </p:cNvPr>
            <p:cNvSpPr/>
            <p:nvPr/>
          </p:nvSpPr>
          <p:spPr>
            <a:xfrm>
              <a:off x="7438340" y="4713814"/>
              <a:ext cx="227019" cy="97979"/>
            </a:xfrm>
            <a:custGeom>
              <a:avLst/>
              <a:gdLst>
                <a:gd name="csX0" fmla="*/ 0 w 227019"/>
                <a:gd name="csY0" fmla="*/ 97979 h 97979"/>
                <a:gd name="csX1" fmla="*/ 227019 w 227019"/>
                <a:gd name="csY1" fmla="*/ 0 h 97979"/>
              </a:gdLst>
              <a:ahLst/>
              <a:cxnLst>
                <a:cxn ang="0">
                  <a:pos x="csX0" y="csY0"/>
                </a:cxn>
                <a:cxn ang="0">
                  <a:pos x="csX1" y="csY1"/>
                </a:cxn>
              </a:cxnLst>
              <a:rect l="l" t="t" r="r" b="b"/>
              <a:pathLst>
                <a:path w="227019" h="97979">
                  <a:moveTo>
                    <a:pt x="0" y="97979"/>
                  </a:moveTo>
                  <a:lnTo>
                    <a:pt x="227019" y="0"/>
                  </a:lnTo>
                </a:path>
              </a:pathLst>
            </a:custGeom>
            <a:ln w="33528" cap="flat">
              <a:solidFill>
                <a:srgbClr val="FFFFFF"/>
              </a:solidFill>
              <a:prstDash val="solid"/>
              <a:miter/>
            </a:ln>
          </p:spPr>
          <p:txBody>
            <a:bodyPr/>
            <a:lstStyle/>
            <a:p>
              <a:endParaRPr lang="en-US"/>
            </a:p>
          </p:txBody>
        </p:sp>
        <p:sp>
          <p:nvSpPr>
            <p:cNvPr id="24" name="Freeform: Shape 23">
              <a:extLst>
                <a:ext uri="{FF2B5EF4-FFF2-40B4-BE49-F238E27FC236}">
                  <a16:creationId xmlns:a16="http://schemas.microsoft.com/office/drawing/2014/main" id="{18A1D774-47ED-D4DB-D0B8-6ABDA86A4084}"/>
                </a:ext>
              </a:extLst>
            </p:cNvPr>
            <p:cNvSpPr/>
            <p:nvPr/>
          </p:nvSpPr>
          <p:spPr>
            <a:xfrm>
              <a:off x="7191269" y="4574014"/>
              <a:ext cx="494140" cy="525251"/>
            </a:xfrm>
            <a:custGeom>
              <a:avLst/>
              <a:gdLst>
                <a:gd name="csX0" fmla="*/ 247072 w 494140"/>
                <a:gd name="csY0" fmla="*/ 43313 h 525251"/>
                <a:gd name="csX1" fmla="*/ 454948 w 494140"/>
                <a:gd name="csY1" fmla="*/ 141104 h 525251"/>
                <a:gd name="csX2" fmla="*/ 454948 w 494140"/>
                <a:gd name="csY2" fmla="*/ 384146 h 525251"/>
                <a:gd name="csX3" fmla="*/ 247072 w 494140"/>
                <a:gd name="csY3" fmla="*/ 481938 h 525251"/>
                <a:gd name="csX4" fmla="*/ 39193 w 494140"/>
                <a:gd name="csY4" fmla="*/ 384146 h 525251"/>
                <a:gd name="csX5" fmla="*/ 39193 w 494140"/>
                <a:gd name="csY5" fmla="*/ 141104 h 525251"/>
                <a:gd name="csX6" fmla="*/ 247072 w 494140"/>
                <a:gd name="csY6" fmla="*/ 43313 h 525251"/>
                <a:gd name="csX7" fmla="*/ 247072 w 494140"/>
                <a:gd name="csY7" fmla="*/ 0 h 525251"/>
                <a:gd name="csX8" fmla="*/ 0 w 494140"/>
                <a:gd name="csY8" fmla="*/ 116228 h 525251"/>
                <a:gd name="csX9" fmla="*/ 0 w 494140"/>
                <a:gd name="csY9" fmla="*/ 409022 h 525251"/>
                <a:gd name="csX10" fmla="*/ 247072 w 494140"/>
                <a:gd name="csY10" fmla="*/ 525252 h 525251"/>
                <a:gd name="csX11" fmla="*/ 494141 w 494140"/>
                <a:gd name="csY11" fmla="*/ 409022 h 525251"/>
                <a:gd name="csX12" fmla="*/ 494141 w 494140"/>
                <a:gd name="csY12" fmla="*/ 116228 h 525251"/>
                <a:gd name="csX13" fmla="*/ 247072 w 494140"/>
                <a:gd name="csY13" fmla="*/ 0 h 525251"/>
                <a:gd name="csX14" fmla="*/ 247072 w 494140"/>
                <a:gd name="csY14" fmla="*/ 0 h 52525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494140" h="525251">
                  <a:moveTo>
                    <a:pt x="247072" y="43313"/>
                  </a:moveTo>
                  <a:lnTo>
                    <a:pt x="454948" y="141104"/>
                  </a:lnTo>
                  <a:lnTo>
                    <a:pt x="454948" y="384146"/>
                  </a:lnTo>
                  <a:lnTo>
                    <a:pt x="247072" y="481938"/>
                  </a:lnTo>
                  <a:lnTo>
                    <a:pt x="39193" y="384146"/>
                  </a:lnTo>
                  <a:lnTo>
                    <a:pt x="39193" y="141104"/>
                  </a:lnTo>
                  <a:lnTo>
                    <a:pt x="247072" y="43313"/>
                  </a:lnTo>
                  <a:moveTo>
                    <a:pt x="247072" y="0"/>
                  </a:moveTo>
                  <a:lnTo>
                    <a:pt x="0" y="116228"/>
                  </a:lnTo>
                  <a:lnTo>
                    <a:pt x="0" y="409022"/>
                  </a:lnTo>
                  <a:lnTo>
                    <a:pt x="247072" y="525252"/>
                  </a:lnTo>
                  <a:lnTo>
                    <a:pt x="494141" y="409022"/>
                  </a:lnTo>
                  <a:lnTo>
                    <a:pt x="494141" y="116228"/>
                  </a:lnTo>
                  <a:lnTo>
                    <a:pt x="247072" y="0"/>
                  </a:lnTo>
                  <a:lnTo>
                    <a:pt x="247072" y="0"/>
                  </a:lnTo>
                  <a:close/>
                </a:path>
              </a:pathLst>
            </a:custGeom>
            <a:solidFill>
              <a:srgbClr val="FFFFFF"/>
            </a:solidFill>
            <a:ln w="5588" cap="flat">
              <a:noFill/>
              <a:prstDash val="solid"/>
              <a:miter/>
            </a:ln>
          </p:spPr>
          <p:txBody>
            <a:bodyPr/>
            <a:lstStyle/>
            <a:p>
              <a:endParaRPr lang="en-US"/>
            </a:p>
          </p:txBody>
        </p:sp>
        <p:sp>
          <p:nvSpPr>
            <p:cNvPr id="25" name="Freeform: Shape 24">
              <a:extLst>
                <a:ext uri="{FF2B5EF4-FFF2-40B4-BE49-F238E27FC236}">
                  <a16:creationId xmlns:a16="http://schemas.microsoft.com/office/drawing/2014/main" id="{9D9FFD4F-6917-688A-DA1A-5EF48E10EB3B}"/>
                </a:ext>
              </a:extLst>
            </p:cNvPr>
            <p:cNvSpPr/>
            <p:nvPr/>
          </p:nvSpPr>
          <p:spPr>
            <a:xfrm>
              <a:off x="7146477" y="4529222"/>
              <a:ext cx="583724" cy="614835"/>
            </a:xfrm>
            <a:custGeom>
              <a:avLst/>
              <a:gdLst>
                <a:gd name="csX0" fmla="*/ 291863 w 583724"/>
                <a:gd name="csY0" fmla="*/ 44792 h 614835"/>
                <a:gd name="csX1" fmla="*/ 538933 w 583724"/>
                <a:gd name="csY1" fmla="*/ 161020 h 614835"/>
                <a:gd name="csX2" fmla="*/ 538933 w 583724"/>
                <a:gd name="csY2" fmla="*/ 453814 h 614835"/>
                <a:gd name="csX3" fmla="*/ 291863 w 583724"/>
                <a:gd name="csY3" fmla="*/ 570044 h 614835"/>
                <a:gd name="csX4" fmla="*/ 44792 w 583724"/>
                <a:gd name="csY4" fmla="*/ 453814 h 614835"/>
                <a:gd name="csX5" fmla="*/ 44792 w 583724"/>
                <a:gd name="csY5" fmla="*/ 161020 h 614835"/>
                <a:gd name="csX6" fmla="*/ 291863 w 583724"/>
                <a:gd name="csY6" fmla="*/ 44792 h 614835"/>
                <a:gd name="csX7" fmla="*/ 291863 w 583724"/>
                <a:gd name="csY7" fmla="*/ 0 h 614835"/>
                <a:gd name="csX8" fmla="*/ 272796 w 583724"/>
                <a:gd name="csY8" fmla="*/ 4261 h 614835"/>
                <a:gd name="csX9" fmla="*/ 25724 w 583724"/>
                <a:gd name="csY9" fmla="*/ 120489 h 614835"/>
                <a:gd name="csX10" fmla="*/ 0 w 583724"/>
                <a:gd name="csY10" fmla="*/ 161020 h 614835"/>
                <a:gd name="csX11" fmla="*/ 0 w 583724"/>
                <a:gd name="csY11" fmla="*/ 453814 h 614835"/>
                <a:gd name="csX12" fmla="*/ 25724 w 583724"/>
                <a:gd name="csY12" fmla="*/ 494345 h 614835"/>
                <a:gd name="csX13" fmla="*/ 272796 w 583724"/>
                <a:gd name="csY13" fmla="*/ 610575 h 614835"/>
                <a:gd name="csX14" fmla="*/ 291863 w 583724"/>
                <a:gd name="csY14" fmla="*/ 614835 h 614835"/>
                <a:gd name="csX15" fmla="*/ 310931 w 583724"/>
                <a:gd name="csY15" fmla="*/ 610575 h 614835"/>
                <a:gd name="csX16" fmla="*/ 558003 w 583724"/>
                <a:gd name="csY16" fmla="*/ 494345 h 614835"/>
                <a:gd name="csX17" fmla="*/ 583725 w 583724"/>
                <a:gd name="csY17" fmla="*/ 453814 h 614835"/>
                <a:gd name="csX18" fmla="*/ 583725 w 583724"/>
                <a:gd name="csY18" fmla="*/ 161020 h 614835"/>
                <a:gd name="csX19" fmla="*/ 558003 w 583724"/>
                <a:gd name="csY19" fmla="*/ 120489 h 614835"/>
                <a:gd name="csX20" fmla="*/ 310931 w 583724"/>
                <a:gd name="csY20" fmla="*/ 4261 h 614835"/>
                <a:gd name="csX21" fmla="*/ 291863 w 583724"/>
                <a:gd name="csY21" fmla="*/ 0 h 614835"/>
                <a:gd name="csX22" fmla="*/ 291863 w 583724"/>
                <a:gd name="csY22" fmla="*/ 0 h 61483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583724" h="614835">
                  <a:moveTo>
                    <a:pt x="291863" y="44792"/>
                  </a:moveTo>
                  <a:lnTo>
                    <a:pt x="538933" y="161020"/>
                  </a:lnTo>
                  <a:lnTo>
                    <a:pt x="538933" y="453814"/>
                  </a:lnTo>
                  <a:lnTo>
                    <a:pt x="291863" y="570044"/>
                  </a:lnTo>
                  <a:lnTo>
                    <a:pt x="44792" y="453814"/>
                  </a:lnTo>
                  <a:lnTo>
                    <a:pt x="44792" y="161020"/>
                  </a:lnTo>
                  <a:lnTo>
                    <a:pt x="291863" y="44792"/>
                  </a:lnTo>
                  <a:moveTo>
                    <a:pt x="291863" y="0"/>
                  </a:moveTo>
                  <a:cubicBezTo>
                    <a:pt x="285348" y="0"/>
                    <a:pt x="278835" y="1420"/>
                    <a:pt x="272796" y="4261"/>
                  </a:cubicBezTo>
                  <a:lnTo>
                    <a:pt x="25724" y="120489"/>
                  </a:lnTo>
                  <a:cubicBezTo>
                    <a:pt x="10022" y="127876"/>
                    <a:pt x="0" y="143667"/>
                    <a:pt x="0" y="161020"/>
                  </a:cubicBezTo>
                  <a:lnTo>
                    <a:pt x="0" y="453814"/>
                  </a:lnTo>
                  <a:cubicBezTo>
                    <a:pt x="0" y="471165"/>
                    <a:pt x="10022" y="486960"/>
                    <a:pt x="25724" y="494345"/>
                  </a:cubicBezTo>
                  <a:lnTo>
                    <a:pt x="272796" y="610575"/>
                  </a:lnTo>
                  <a:cubicBezTo>
                    <a:pt x="278835" y="613413"/>
                    <a:pt x="285348" y="614835"/>
                    <a:pt x="291863" y="614835"/>
                  </a:cubicBezTo>
                  <a:cubicBezTo>
                    <a:pt x="298378" y="614835"/>
                    <a:pt x="304892" y="613413"/>
                    <a:pt x="310931" y="610575"/>
                  </a:cubicBezTo>
                  <a:lnTo>
                    <a:pt x="558003" y="494345"/>
                  </a:lnTo>
                  <a:cubicBezTo>
                    <a:pt x="573702" y="486960"/>
                    <a:pt x="583725" y="471165"/>
                    <a:pt x="583725" y="453814"/>
                  </a:cubicBezTo>
                  <a:lnTo>
                    <a:pt x="583725" y="161020"/>
                  </a:lnTo>
                  <a:cubicBezTo>
                    <a:pt x="583725" y="143667"/>
                    <a:pt x="573702" y="127876"/>
                    <a:pt x="558003" y="120489"/>
                  </a:cubicBezTo>
                  <a:lnTo>
                    <a:pt x="310931" y="4261"/>
                  </a:lnTo>
                  <a:cubicBezTo>
                    <a:pt x="304892" y="1420"/>
                    <a:pt x="298378" y="0"/>
                    <a:pt x="291863" y="0"/>
                  </a:cubicBezTo>
                  <a:lnTo>
                    <a:pt x="291863" y="0"/>
                  </a:lnTo>
                  <a:close/>
                </a:path>
              </a:pathLst>
            </a:custGeom>
            <a:solidFill>
              <a:schemeClr val="tx2"/>
            </a:solidFill>
            <a:ln w="5588" cap="flat">
              <a:solidFill>
                <a:schemeClr val="accent2"/>
              </a:solidFill>
              <a:prstDash val="solid"/>
              <a:miter/>
            </a:ln>
          </p:spPr>
          <p:txBody>
            <a:bodyPr/>
            <a:lstStyle/>
            <a:p>
              <a:endParaRPr lang="en-US"/>
            </a:p>
          </p:txBody>
        </p:sp>
      </p:grpSp>
      <p:grpSp>
        <p:nvGrpSpPr>
          <p:cNvPr id="44" name="Group 43">
            <a:extLst>
              <a:ext uri="{FF2B5EF4-FFF2-40B4-BE49-F238E27FC236}">
                <a16:creationId xmlns:a16="http://schemas.microsoft.com/office/drawing/2014/main" id="{15B851C0-1F9E-A3CF-3691-744C06AC0BB9}"/>
              </a:ext>
            </a:extLst>
          </p:cNvPr>
          <p:cNvGrpSpPr/>
          <p:nvPr/>
        </p:nvGrpSpPr>
        <p:grpSpPr>
          <a:xfrm>
            <a:off x="7200122" y="3193280"/>
            <a:ext cx="497819" cy="512715"/>
            <a:chOff x="7196214" y="2647850"/>
            <a:chExt cx="497819" cy="512715"/>
          </a:xfrm>
        </p:grpSpPr>
        <p:sp>
          <p:nvSpPr>
            <p:cNvPr id="32" name="Freeform: Shape 31">
              <a:extLst>
                <a:ext uri="{FF2B5EF4-FFF2-40B4-BE49-F238E27FC236}">
                  <a16:creationId xmlns:a16="http://schemas.microsoft.com/office/drawing/2014/main" id="{388786EC-8D9A-87F5-46BA-2FCBFA762838}"/>
                </a:ext>
              </a:extLst>
            </p:cNvPr>
            <p:cNvSpPr/>
            <p:nvPr/>
          </p:nvSpPr>
          <p:spPr>
            <a:xfrm>
              <a:off x="7196214" y="2733662"/>
              <a:ext cx="497819" cy="421124"/>
            </a:xfrm>
            <a:custGeom>
              <a:avLst/>
              <a:gdLst>
                <a:gd name="csX0" fmla="*/ 427154 w 497819"/>
                <a:gd name="csY0" fmla="*/ 0 h 421124"/>
                <a:gd name="csX1" fmla="*/ 497820 w 497819"/>
                <a:gd name="csY1" fmla="*/ 0 h 421124"/>
                <a:gd name="csX2" fmla="*/ 497820 w 497819"/>
                <a:gd name="csY2" fmla="*/ 421124 h 421124"/>
                <a:gd name="csX3" fmla="*/ 0 w 497819"/>
                <a:gd name="csY3" fmla="*/ 421124 h 421124"/>
                <a:gd name="csX4" fmla="*/ 0 w 497819"/>
                <a:gd name="csY4" fmla="*/ 287810 h 421124"/>
                <a:gd name="csX5" fmla="*/ 0 w 497819"/>
                <a:gd name="csY5" fmla="*/ 0 h 421124"/>
                <a:gd name="csX6" fmla="*/ 120261 w 497819"/>
                <a:gd name="csY6" fmla="*/ 0 h 42112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497819" h="421124">
                  <a:moveTo>
                    <a:pt x="427154" y="0"/>
                  </a:moveTo>
                  <a:lnTo>
                    <a:pt x="497820" y="0"/>
                  </a:lnTo>
                  <a:lnTo>
                    <a:pt x="497820" y="421124"/>
                  </a:lnTo>
                  <a:lnTo>
                    <a:pt x="0" y="421124"/>
                  </a:lnTo>
                  <a:lnTo>
                    <a:pt x="0" y="287810"/>
                  </a:lnTo>
                  <a:lnTo>
                    <a:pt x="0" y="0"/>
                  </a:lnTo>
                  <a:lnTo>
                    <a:pt x="120261" y="0"/>
                  </a:lnTo>
                </a:path>
              </a:pathLst>
            </a:custGeom>
            <a:noFill/>
            <a:ln w="57785" cap="flat">
              <a:solidFill>
                <a:srgbClr val="B8CBDE"/>
              </a:solidFill>
              <a:prstDash val="solid"/>
              <a:round/>
            </a:ln>
          </p:spPr>
          <p:txBody>
            <a:bodyPr/>
            <a:lstStyle/>
            <a:p>
              <a:endParaRPr lang="en-US"/>
            </a:p>
          </p:txBody>
        </p:sp>
        <p:sp>
          <p:nvSpPr>
            <p:cNvPr id="34" name="Freeform: Shape 33">
              <a:extLst>
                <a:ext uri="{FF2B5EF4-FFF2-40B4-BE49-F238E27FC236}">
                  <a16:creationId xmlns:a16="http://schemas.microsoft.com/office/drawing/2014/main" id="{F39A14CC-0E24-0B3D-A3DD-5BEE1970E904}"/>
                </a:ext>
              </a:extLst>
            </p:cNvPr>
            <p:cNvSpPr/>
            <p:nvPr/>
          </p:nvSpPr>
          <p:spPr>
            <a:xfrm>
              <a:off x="7508230" y="2733662"/>
              <a:ext cx="65256" cy="5779"/>
            </a:xfrm>
            <a:custGeom>
              <a:avLst/>
              <a:gdLst>
                <a:gd name="csX0" fmla="*/ 0 w 65256"/>
                <a:gd name="csY0" fmla="*/ 0 h 5779"/>
                <a:gd name="csX1" fmla="*/ 65257 w 65256"/>
                <a:gd name="csY1" fmla="*/ 0 h 5779"/>
              </a:gdLst>
              <a:ahLst/>
              <a:cxnLst>
                <a:cxn ang="0">
                  <a:pos x="csX0" y="csY0"/>
                </a:cxn>
                <a:cxn ang="0">
                  <a:pos x="csX1" y="csY1"/>
                </a:cxn>
              </a:cxnLst>
              <a:rect l="l" t="t" r="r" b="b"/>
              <a:pathLst>
                <a:path w="65256" h="5779">
                  <a:moveTo>
                    <a:pt x="0" y="0"/>
                  </a:moveTo>
                  <a:lnTo>
                    <a:pt x="65257" y="0"/>
                  </a:lnTo>
                </a:path>
              </a:pathLst>
            </a:custGeom>
            <a:ln w="57785" cap="flat">
              <a:solidFill>
                <a:srgbClr val="B8CBDE"/>
              </a:solidFill>
              <a:prstDash val="solid"/>
              <a:round/>
            </a:ln>
          </p:spPr>
          <p:txBody>
            <a:bodyPr/>
            <a:lstStyle/>
            <a:p>
              <a:endParaRPr lang="en-US"/>
            </a:p>
          </p:txBody>
        </p:sp>
        <p:sp>
          <p:nvSpPr>
            <p:cNvPr id="35" name="Freeform: Shape 34">
              <a:extLst>
                <a:ext uri="{FF2B5EF4-FFF2-40B4-BE49-F238E27FC236}">
                  <a16:creationId xmlns:a16="http://schemas.microsoft.com/office/drawing/2014/main" id="{AF6817D4-54E5-B836-594A-9B216DC3546D}"/>
                </a:ext>
              </a:extLst>
            </p:cNvPr>
            <p:cNvSpPr/>
            <p:nvPr/>
          </p:nvSpPr>
          <p:spPr>
            <a:xfrm>
              <a:off x="7196214" y="2733662"/>
              <a:ext cx="241641" cy="224229"/>
            </a:xfrm>
            <a:custGeom>
              <a:avLst/>
              <a:gdLst>
                <a:gd name="csX0" fmla="*/ 0 w 241641"/>
                <a:gd name="csY0" fmla="*/ 224230 h 224229"/>
                <a:gd name="csX1" fmla="*/ 0 w 241641"/>
                <a:gd name="csY1" fmla="*/ 0 h 224229"/>
                <a:gd name="csX2" fmla="*/ 241641 w 241641"/>
                <a:gd name="csY2" fmla="*/ 0 h 224229"/>
              </a:gdLst>
              <a:ahLst/>
              <a:cxnLst>
                <a:cxn ang="0">
                  <a:pos x="csX0" y="csY0"/>
                </a:cxn>
                <a:cxn ang="0">
                  <a:pos x="csX1" y="csY1"/>
                </a:cxn>
                <a:cxn ang="0">
                  <a:pos x="csX2" y="csY2"/>
                </a:cxn>
              </a:cxnLst>
              <a:rect l="l" t="t" r="r" b="b"/>
              <a:pathLst>
                <a:path w="241641" h="224229">
                  <a:moveTo>
                    <a:pt x="0" y="224230"/>
                  </a:moveTo>
                  <a:lnTo>
                    <a:pt x="0" y="0"/>
                  </a:lnTo>
                  <a:lnTo>
                    <a:pt x="241641" y="0"/>
                  </a:lnTo>
                </a:path>
              </a:pathLst>
            </a:custGeom>
            <a:noFill/>
            <a:ln w="57785" cap="flat">
              <a:solidFill>
                <a:schemeClr val="accent6">
                  <a:lumMod val="50000"/>
                </a:schemeClr>
              </a:solidFill>
              <a:prstDash val="solid"/>
              <a:round/>
            </a:ln>
          </p:spPr>
          <p:txBody>
            <a:bodyPr/>
            <a:lstStyle/>
            <a:p>
              <a:endParaRPr lang="en-US"/>
            </a:p>
          </p:txBody>
        </p:sp>
        <p:sp>
          <p:nvSpPr>
            <p:cNvPr id="38" name="Freeform: Shape 37">
              <a:extLst>
                <a:ext uri="{FF2B5EF4-FFF2-40B4-BE49-F238E27FC236}">
                  <a16:creationId xmlns:a16="http://schemas.microsoft.com/office/drawing/2014/main" id="{FAC9B46F-25E1-4800-698B-B8CD44DF047E}"/>
                </a:ext>
              </a:extLst>
            </p:cNvPr>
            <p:cNvSpPr/>
            <p:nvPr/>
          </p:nvSpPr>
          <p:spPr>
            <a:xfrm>
              <a:off x="7196214" y="3029379"/>
              <a:ext cx="5779" cy="76629"/>
            </a:xfrm>
            <a:custGeom>
              <a:avLst/>
              <a:gdLst>
                <a:gd name="csX0" fmla="*/ 0 w 5779"/>
                <a:gd name="csY0" fmla="*/ 76629 h 76629"/>
                <a:gd name="csX1" fmla="*/ 0 w 5779"/>
                <a:gd name="csY1" fmla="*/ 0 h 76629"/>
              </a:gdLst>
              <a:ahLst/>
              <a:cxnLst>
                <a:cxn ang="0">
                  <a:pos x="csX0" y="csY0"/>
                </a:cxn>
                <a:cxn ang="0">
                  <a:pos x="csX1" y="csY1"/>
                </a:cxn>
              </a:cxnLst>
              <a:rect l="l" t="t" r="r" b="b"/>
              <a:pathLst>
                <a:path w="5779" h="76629">
                  <a:moveTo>
                    <a:pt x="0" y="76629"/>
                  </a:moveTo>
                  <a:lnTo>
                    <a:pt x="0" y="0"/>
                  </a:lnTo>
                </a:path>
              </a:pathLst>
            </a:custGeom>
            <a:ln w="57785" cap="flat">
              <a:solidFill>
                <a:schemeClr val="accent6">
                  <a:lumMod val="50000"/>
                </a:schemeClr>
              </a:solidFill>
              <a:prstDash val="solid"/>
              <a:round/>
            </a:ln>
          </p:spPr>
          <p:txBody>
            <a:bodyPr/>
            <a:lstStyle/>
            <a:p>
              <a:endParaRPr lang="en-US"/>
            </a:p>
          </p:txBody>
        </p:sp>
        <p:sp>
          <p:nvSpPr>
            <p:cNvPr id="39" name="Freeform: Shape 38">
              <a:extLst>
                <a:ext uri="{FF2B5EF4-FFF2-40B4-BE49-F238E27FC236}">
                  <a16:creationId xmlns:a16="http://schemas.microsoft.com/office/drawing/2014/main" id="{1E50A832-8620-38CD-764F-64822A307A04}"/>
                </a:ext>
              </a:extLst>
            </p:cNvPr>
            <p:cNvSpPr/>
            <p:nvPr/>
          </p:nvSpPr>
          <p:spPr>
            <a:xfrm>
              <a:off x="7245788" y="3154786"/>
              <a:ext cx="73535" cy="5779"/>
            </a:xfrm>
            <a:custGeom>
              <a:avLst/>
              <a:gdLst>
                <a:gd name="csX0" fmla="*/ 73536 w 73535"/>
                <a:gd name="csY0" fmla="*/ 0 h 5779"/>
                <a:gd name="csX1" fmla="*/ 0 w 73535"/>
                <a:gd name="csY1" fmla="*/ 0 h 5779"/>
              </a:gdLst>
              <a:ahLst/>
              <a:cxnLst>
                <a:cxn ang="0">
                  <a:pos x="csX0" y="csY0"/>
                </a:cxn>
                <a:cxn ang="0">
                  <a:pos x="csX1" y="csY1"/>
                </a:cxn>
              </a:cxnLst>
              <a:rect l="l" t="t" r="r" b="b"/>
              <a:pathLst>
                <a:path w="73535" h="5779">
                  <a:moveTo>
                    <a:pt x="73536" y="0"/>
                  </a:moveTo>
                  <a:lnTo>
                    <a:pt x="0" y="0"/>
                  </a:lnTo>
                </a:path>
              </a:pathLst>
            </a:custGeom>
            <a:ln w="57785" cap="flat">
              <a:solidFill>
                <a:schemeClr val="accent6">
                  <a:lumMod val="50000"/>
                </a:schemeClr>
              </a:solidFill>
              <a:prstDash val="solid"/>
              <a:round/>
            </a:ln>
          </p:spPr>
          <p:txBody>
            <a:bodyPr/>
            <a:lstStyle/>
            <a:p>
              <a:endParaRPr lang="en-US"/>
            </a:p>
          </p:txBody>
        </p:sp>
        <p:sp>
          <p:nvSpPr>
            <p:cNvPr id="40" name="Freeform: Shape 39">
              <a:extLst>
                <a:ext uri="{FF2B5EF4-FFF2-40B4-BE49-F238E27FC236}">
                  <a16:creationId xmlns:a16="http://schemas.microsoft.com/office/drawing/2014/main" id="{7FC2A190-5CAB-2F90-807D-9E7E6813A79B}"/>
                </a:ext>
              </a:extLst>
            </p:cNvPr>
            <p:cNvSpPr/>
            <p:nvPr/>
          </p:nvSpPr>
          <p:spPr>
            <a:xfrm>
              <a:off x="7351314" y="2647850"/>
              <a:ext cx="84614" cy="170656"/>
            </a:xfrm>
            <a:custGeom>
              <a:avLst/>
              <a:gdLst>
                <a:gd name="csX0" fmla="*/ 531 w 84614"/>
                <a:gd name="csY0" fmla="*/ 0 h 170656"/>
                <a:gd name="csX1" fmla="*/ 84615 w 84614"/>
                <a:gd name="csY1" fmla="*/ 85060 h 170656"/>
                <a:gd name="csX2" fmla="*/ 0 w 84614"/>
                <a:gd name="csY2" fmla="*/ 170657 h 170656"/>
              </a:gdLst>
              <a:ahLst/>
              <a:cxnLst>
                <a:cxn ang="0">
                  <a:pos x="csX0" y="csY0"/>
                </a:cxn>
                <a:cxn ang="0">
                  <a:pos x="csX1" y="csY1"/>
                </a:cxn>
                <a:cxn ang="0">
                  <a:pos x="csX2" y="csY2"/>
                </a:cxn>
              </a:cxnLst>
              <a:rect l="l" t="t" r="r" b="b"/>
              <a:pathLst>
                <a:path w="84614" h="170656">
                  <a:moveTo>
                    <a:pt x="531" y="0"/>
                  </a:moveTo>
                  <a:lnTo>
                    <a:pt x="84615" y="85060"/>
                  </a:lnTo>
                  <a:lnTo>
                    <a:pt x="0" y="170657"/>
                  </a:lnTo>
                </a:path>
              </a:pathLst>
            </a:custGeom>
            <a:solidFill>
              <a:schemeClr val="accent6">
                <a:lumMod val="50000"/>
              </a:schemeClr>
            </a:solidFill>
            <a:ln w="57785" cap="sq">
              <a:solidFill>
                <a:schemeClr val="accent6">
                  <a:lumMod val="50000"/>
                </a:schemeClr>
              </a:solidFill>
              <a:prstDash val="solid"/>
              <a:round/>
            </a:ln>
          </p:spPr>
          <p:txBody>
            <a:bodyPr/>
            <a:lstStyle/>
            <a:p>
              <a:endParaRPr lang="en-US"/>
            </a:p>
          </p:txBody>
        </p:sp>
      </p:grpSp>
      <p:sp>
        <p:nvSpPr>
          <p:cNvPr id="45" name="Tijdelijke aanduiding voor tekst 5">
            <a:extLst>
              <a:ext uri="{FF2B5EF4-FFF2-40B4-BE49-F238E27FC236}">
                <a16:creationId xmlns:a16="http://schemas.microsoft.com/office/drawing/2014/main" id="{606A15AE-F43E-3314-E1E4-DE69B747D258}"/>
              </a:ext>
            </a:extLst>
          </p:cNvPr>
          <p:cNvSpPr txBox="1"/>
          <p:nvPr/>
        </p:nvSpPr>
        <p:spPr>
          <a:xfrm>
            <a:off x="8155903" y="2066557"/>
            <a:ext cx="3197897" cy="664797"/>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a:solidFill>
                  <a:schemeClr val="tx1"/>
                </a:solidFill>
              </a:rPr>
              <a:t>Safety critical context where reliability matters </a:t>
            </a:r>
          </a:p>
        </p:txBody>
      </p:sp>
      <p:grpSp>
        <p:nvGrpSpPr>
          <p:cNvPr id="53" name="Group 52">
            <a:extLst>
              <a:ext uri="{FF2B5EF4-FFF2-40B4-BE49-F238E27FC236}">
                <a16:creationId xmlns:a16="http://schemas.microsoft.com/office/drawing/2014/main" id="{7F94360A-7F08-51AF-B4E0-AE23A992CD7B}"/>
              </a:ext>
            </a:extLst>
          </p:cNvPr>
          <p:cNvGrpSpPr/>
          <p:nvPr/>
        </p:nvGrpSpPr>
        <p:grpSpPr>
          <a:xfrm>
            <a:off x="7261301" y="2154642"/>
            <a:ext cx="420149" cy="562921"/>
            <a:chOff x="7261301" y="2154642"/>
            <a:chExt cx="420149" cy="562921"/>
          </a:xfrm>
        </p:grpSpPr>
        <p:sp>
          <p:nvSpPr>
            <p:cNvPr id="49" name="Freeform: Shape 48">
              <a:extLst>
                <a:ext uri="{FF2B5EF4-FFF2-40B4-BE49-F238E27FC236}">
                  <a16:creationId xmlns:a16="http://schemas.microsoft.com/office/drawing/2014/main" id="{D753624F-AB7E-8651-1D6C-4379FDF707C0}"/>
                </a:ext>
              </a:extLst>
            </p:cNvPr>
            <p:cNvSpPr/>
            <p:nvPr/>
          </p:nvSpPr>
          <p:spPr>
            <a:xfrm>
              <a:off x="7261301" y="2262912"/>
              <a:ext cx="284219" cy="342094"/>
            </a:xfrm>
            <a:custGeom>
              <a:avLst/>
              <a:gdLst>
                <a:gd name="csX0" fmla="*/ 0 w 284219"/>
                <a:gd name="csY0" fmla="*/ 0 h 342094"/>
                <a:gd name="csX1" fmla="*/ 53679 w 284219"/>
                <a:gd name="csY1" fmla="*/ 342095 h 342094"/>
                <a:gd name="csX2" fmla="*/ 284220 w 284219"/>
                <a:gd name="csY2" fmla="*/ 342095 h 342094"/>
              </a:gdLst>
              <a:ahLst/>
              <a:cxnLst>
                <a:cxn ang="0">
                  <a:pos x="csX0" y="csY0"/>
                </a:cxn>
                <a:cxn ang="0">
                  <a:pos x="csX1" y="csY1"/>
                </a:cxn>
                <a:cxn ang="0">
                  <a:pos x="csX2" y="csY2"/>
                </a:cxn>
              </a:cxnLst>
              <a:rect l="l" t="t" r="r" b="b"/>
              <a:pathLst>
                <a:path w="284219" h="342094">
                  <a:moveTo>
                    <a:pt x="0" y="0"/>
                  </a:moveTo>
                  <a:lnTo>
                    <a:pt x="53679" y="342095"/>
                  </a:lnTo>
                  <a:lnTo>
                    <a:pt x="284220" y="342095"/>
                  </a:lnTo>
                </a:path>
              </a:pathLst>
            </a:custGeom>
            <a:noFill/>
            <a:ln w="51435" cap="sq">
              <a:solidFill>
                <a:schemeClr val="tx2"/>
              </a:solidFill>
              <a:prstDash val="solid"/>
              <a:round/>
            </a:ln>
          </p:spPr>
          <p:txBody>
            <a:bodyPr/>
            <a:lstStyle/>
            <a:p>
              <a:endParaRPr lang="en-US"/>
            </a:p>
          </p:txBody>
        </p:sp>
        <p:sp>
          <p:nvSpPr>
            <p:cNvPr id="50" name="Freeform: Shape 49">
              <a:extLst>
                <a:ext uri="{FF2B5EF4-FFF2-40B4-BE49-F238E27FC236}">
                  <a16:creationId xmlns:a16="http://schemas.microsoft.com/office/drawing/2014/main" id="{4878C29A-406E-525A-E535-102697BB8308}"/>
                </a:ext>
              </a:extLst>
            </p:cNvPr>
            <p:cNvSpPr/>
            <p:nvPr/>
          </p:nvSpPr>
          <p:spPr>
            <a:xfrm>
              <a:off x="7331873" y="2323920"/>
              <a:ext cx="188287" cy="250967"/>
            </a:xfrm>
            <a:custGeom>
              <a:avLst/>
              <a:gdLst>
                <a:gd name="csX0" fmla="*/ 157456 w 188287"/>
                <a:gd name="csY0" fmla="*/ 248925 h 250967"/>
                <a:gd name="csX1" fmla="*/ 157456 w 188287"/>
                <a:gd name="csY1" fmla="*/ 248925 h 250967"/>
                <a:gd name="csX2" fmla="*/ 188036 w 188287"/>
                <a:gd name="csY2" fmla="*/ 210030 h 250967"/>
                <a:gd name="csX3" fmla="*/ 140609 w 188287"/>
                <a:gd name="csY3" fmla="*/ 36005 h 250967"/>
                <a:gd name="csX4" fmla="*/ 95186 w 188287"/>
                <a:gd name="csY4" fmla="*/ 294 h 250967"/>
                <a:gd name="csX5" fmla="*/ 36005 w 188287"/>
                <a:gd name="csY5" fmla="*/ 8274 h 250967"/>
                <a:gd name="csX6" fmla="*/ 294 w 188287"/>
                <a:gd name="csY6" fmla="*/ 53697 h 250967"/>
                <a:gd name="csX7" fmla="*/ 9762 w 188287"/>
                <a:gd name="csY7" fmla="*/ 132808 h 250967"/>
                <a:gd name="csX8" fmla="*/ 157456 w 188287"/>
                <a:gd name="csY8" fmla="*/ 248925 h 25096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88287" h="250967">
                  <a:moveTo>
                    <a:pt x="157456" y="248925"/>
                  </a:moveTo>
                  <a:lnTo>
                    <a:pt x="157456" y="248925"/>
                  </a:lnTo>
                  <a:cubicBezTo>
                    <a:pt x="176642" y="246629"/>
                    <a:pt x="190333" y="229215"/>
                    <a:pt x="188036" y="210030"/>
                  </a:cubicBezTo>
                  <a:lnTo>
                    <a:pt x="140609" y="36005"/>
                  </a:lnTo>
                  <a:cubicBezTo>
                    <a:pt x="137927" y="13601"/>
                    <a:pt x="117591" y="-2388"/>
                    <a:pt x="95186" y="294"/>
                  </a:cubicBezTo>
                  <a:lnTo>
                    <a:pt x="36005" y="8274"/>
                  </a:lnTo>
                  <a:cubicBezTo>
                    <a:pt x="13601" y="10956"/>
                    <a:pt x="-2388" y="31292"/>
                    <a:pt x="294" y="53697"/>
                  </a:cubicBezTo>
                  <a:lnTo>
                    <a:pt x="9762" y="132808"/>
                  </a:lnTo>
                  <a:cubicBezTo>
                    <a:pt x="21900" y="224080"/>
                    <a:pt x="68541" y="260357"/>
                    <a:pt x="157456" y="248925"/>
                  </a:cubicBezTo>
                  <a:close/>
                </a:path>
              </a:pathLst>
            </a:custGeom>
            <a:solidFill>
              <a:schemeClr val="accent6">
                <a:lumMod val="50000"/>
              </a:schemeClr>
            </a:solidFill>
            <a:ln w="5144" cap="flat">
              <a:noFill/>
              <a:prstDash val="solid"/>
              <a:miter/>
            </a:ln>
          </p:spPr>
          <p:txBody>
            <a:bodyPr/>
            <a:lstStyle/>
            <a:p>
              <a:endParaRPr lang="en-US"/>
            </a:p>
          </p:txBody>
        </p:sp>
        <p:sp>
          <p:nvSpPr>
            <p:cNvPr id="51" name="Freeform: Shape 50">
              <a:extLst>
                <a:ext uri="{FF2B5EF4-FFF2-40B4-BE49-F238E27FC236}">
                  <a16:creationId xmlns:a16="http://schemas.microsoft.com/office/drawing/2014/main" id="{7344ABED-442F-27A6-5E5B-8E9D4EA0C654}"/>
                </a:ext>
              </a:extLst>
            </p:cNvPr>
            <p:cNvSpPr/>
            <p:nvPr/>
          </p:nvSpPr>
          <p:spPr>
            <a:xfrm>
              <a:off x="7394925" y="2464382"/>
              <a:ext cx="286525" cy="253181"/>
            </a:xfrm>
            <a:custGeom>
              <a:avLst/>
              <a:gdLst>
                <a:gd name="csX0" fmla="*/ 280674 w 286525"/>
                <a:gd name="csY0" fmla="*/ 172632 h 253181"/>
                <a:gd name="csX1" fmla="*/ 258584 w 286525"/>
                <a:gd name="csY1" fmla="*/ 186789 h 253181"/>
                <a:gd name="csX2" fmla="*/ 236581 w 286525"/>
                <a:gd name="csY2" fmla="*/ 184388 h 253181"/>
                <a:gd name="csX3" fmla="*/ 188138 w 286525"/>
                <a:gd name="csY3" fmla="*/ 115742 h 253181"/>
                <a:gd name="csX4" fmla="*/ 185368 w 286525"/>
                <a:gd name="csY4" fmla="*/ 114005 h 253181"/>
                <a:gd name="csX5" fmla="*/ 112707 w 286525"/>
                <a:gd name="csY5" fmla="*/ 86036 h 253181"/>
                <a:gd name="csX6" fmla="*/ 31401 w 286525"/>
                <a:gd name="csY6" fmla="*/ 47341 h 253181"/>
                <a:gd name="csX7" fmla="*/ 91265 w 286525"/>
                <a:gd name="csY7" fmla="*/ 57172 h 253181"/>
                <a:gd name="csX8" fmla="*/ 92454 w 286525"/>
                <a:gd name="csY8" fmla="*/ 64519 h 253181"/>
                <a:gd name="csX9" fmla="*/ 133831 w 286525"/>
                <a:gd name="csY9" fmla="*/ 92498 h 253181"/>
                <a:gd name="csX10" fmla="*/ 151449 w 286525"/>
                <a:gd name="csY10" fmla="*/ 113467 h 253181"/>
                <a:gd name="csX11" fmla="*/ 156002 w 286525"/>
                <a:gd name="csY11" fmla="*/ 128916 h 253181"/>
                <a:gd name="csX12" fmla="*/ 168763 w 286525"/>
                <a:gd name="csY12" fmla="*/ 231841 h 253181"/>
                <a:gd name="csX13" fmla="*/ 156360 w 286525"/>
                <a:gd name="csY13" fmla="*/ 250175 h 253181"/>
                <a:gd name="csX14" fmla="*/ 136962 w 286525"/>
                <a:gd name="csY14" fmla="*/ 252895 h 253181"/>
                <a:gd name="csX15" fmla="*/ 118628 w 286525"/>
                <a:gd name="csY15" fmla="*/ 240493 h 253181"/>
                <a:gd name="csX16" fmla="*/ 92629 w 286525"/>
                <a:gd name="csY16" fmla="*/ 156488 h 253181"/>
                <a:gd name="csX17" fmla="*/ 73012 w 286525"/>
                <a:gd name="csY17" fmla="*/ 129460 h 253181"/>
                <a:gd name="csX18" fmla="*/ 10671 w 286525"/>
                <a:gd name="csY18" fmla="*/ 99165 h 253181"/>
                <a:gd name="csX19" fmla="*/ 175 w 286525"/>
                <a:gd name="csY19" fmla="*/ 71911 h 253181"/>
                <a:gd name="csX20" fmla="*/ 83355 w 286525"/>
                <a:gd name="csY20" fmla="*/ 2408 h 253181"/>
                <a:gd name="csX21" fmla="*/ 89249 w 286525"/>
                <a:gd name="csY21" fmla="*/ 177 h 253181"/>
                <a:gd name="csX22" fmla="*/ 211929 w 286525"/>
                <a:gd name="csY22" fmla="*/ 51311 h 253181"/>
                <a:gd name="csX23" fmla="*/ 233005 w 286525"/>
                <a:gd name="csY23" fmla="*/ 64526 h 253181"/>
                <a:gd name="csX24" fmla="*/ 283075 w 286525"/>
                <a:gd name="csY24" fmla="*/ 150627 h 253181"/>
                <a:gd name="csX25" fmla="*/ 280674 w 286525"/>
                <a:gd name="csY25" fmla="*/ 172632 h 25318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Lst>
              <a:rect l="l" t="t" r="r" b="b"/>
              <a:pathLst>
                <a:path w="286525" h="253181">
                  <a:moveTo>
                    <a:pt x="280674" y="172632"/>
                  </a:moveTo>
                  <a:lnTo>
                    <a:pt x="258584" y="186789"/>
                  </a:lnTo>
                  <a:cubicBezTo>
                    <a:pt x="251845" y="192202"/>
                    <a:pt x="241994" y="191127"/>
                    <a:pt x="236581" y="184388"/>
                  </a:cubicBezTo>
                  <a:lnTo>
                    <a:pt x="188138" y="115742"/>
                  </a:lnTo>
                  <a:cubicBezTo>
                    <a:pt x="187414" y="114893"/>
                    <a:pt x="186447" y="114286"/>
                    <a:pt x="185368" y="114005"/>
                  </a:cubicBezTo>
                  <a:lnTo>
                    <a:pt x="112707" y="86036"/>
                  </a:lnTo>
                  <a:cubicBezTo>
                    <a:pt x="110467" y="85451"/>
                    <a:pt x="32692" y="45421"/>
                    <a:pt x="31401" y="47341"/>
                  </a:cubicBezTo>
                  <a:lnTo>
                    <a:pt x="91265" y="57172"/>
                  </a:lnTo>
                  <a:cubicBezTo>
                    <a:pt x="89665" y="59552"/>
                    <a:pt x="90185" y="62765"/>
                    <a:pt x="92454" y="64519"/>
                  </a:cubicBezTo>
                  <a:lnTo>
                    <a:pt x="133831" y="92498"/>
                  </a:lnTo>
                  <a:cubicBezTo>
                    <a:pt x="141165" y="98167"/>
                    <a:pt x="147162" y="105328"/>
                    <a:pt x="151449" y="113467"/>
                  </a:cubicBezTo>
                  <a:cubicBezTo>
                    <a:pt x="153967" y="118249"/>
                    <a:pt x="155337" y="123552"/>
                    <a:pt x="156002" y="128916"/>
                  </a:cubicBezTo>
                  <a:lnTo>
                    <a:pt x="168763" y="231841"/>
                  </a:lnTo>
                  <a:cubicBezTo>
                    <a:pt x="170400" y="240328"/>
                    <a:pt x="164848" y="248537"/>
                    <a:pt x="156360" y="250175"/>
                  </a:cubicBezTo>
                  <a:lnTo>
                    <a:pt x="136962" y="252895"/>
                  </a:lnTo>
                  <a:cubicBezTo>
                    <a:pt x="128474" y="254533"/>
                    <a:pt x="120266" y="248981"/>
                    <a:pt x="118628" y="240493"/>
                  </a:cubicBezTo>
                  <a:lnTo>
                    <a:pt x="92629" y="156488"/>
                  </a:lnTo>
                  <a:cubicBezTo>
                    <a:pt x="88809" y="145788"/>
                    <a:pt x="82000" y="136408"/>
                    <a:pt x="73012" y="129460"/>
                  </a:cubicBezTo>
                  <a:lnTo>
                    <a:pt x="10671" y="99165"/>
                  </a:lnTo>
                  <a:cubicBezTo>
                    <a:pt x="8402" y="97411"/>
                    <a:pt x="-1425" y="74291"/>
                    <a:pt x="175" y="71911"/>
                  </a:cubicBezTo>
                  <a:lnTo>
                    <a:pt x="83355" y="2408"/>
                  </a:lnTo>
                  <a:cubicBezTo>
                    <a:pt x="84646" y="487"/>
                    <a:pt x="87010" y="-407"/>
                    <a:pt x="89249" y="177"/>
                  </a:cubicBezTo>
                  <a:lnTo>
                    <a:pt x="211929" y="51311"/>
                  </a:lnTo>
                  <a:cubicBezTo>
                    <a:pt x="220142" y="53454"/>
                    <a:pt x="227499" y="58067"/>
                    <a:pt x="233005" y="64526"/>
                  </a:cubicBezTo>
                  <a:lnTo>
                    <a:pt x="283075" y="150627"/>
                  </a:lnTo>
                  <a:cubicBezTo>
                    <a:pt x="288489" y="157367"/>
                    <a:pt x="287414" y="167219"/>
                    <a:pt x="280674" y="172632"/>
                  </a:cubicBezTo>
                  <a:close/>
                </a:path>
              </a:pathLst>
            </a:custGeom>
            <a:solidFill>
              <a:schemeClr val="accent6">
                <a:lumMod val="50000"/>
              </a:schemeClr>
            </a:solidFill>
            <a:ln w="5144" cap="flat">
              <a:noFill/>
              <a:prstDash val="solid"/>
              <a:miter/>
            </a:ln>
          </p:spPr>
          <p:txBody>
            <a:bodyPr/>
            <a:lstStyle/>
            <a:p>
              <a:endParaRPr lang="en-US"/>
            </a:p>
          </p:txBody>
        </p:sp>
        <p:sp>
          <p:nvSpPr>
            <p:cNvPr id="52" name="Oval 51">
              <a:extLst>
                <a:ext uri="{FF2B5EF4-FFF2-40B4-BE49-F238E27FC236}">
                  <a16:creationId xmlns:a16="http://schemas.microsoft.com/office/drawing/2014/main" id="{F4AF288A-31A0-B954-8CAB-FB3E9BAA0527}"/>
                </a:ext>
              </a:extLst>
            </p:cNvPr>
            <p:cNvSpPr/>
            <p:nvPr/>
          </p:nvSpPr>
          <p:spPr>
            <a:xfrm rot="21046952">
              <a:off x="7307249" y="2154642"/>
              <a:ext cx="149093" cy="149093"/>
            </a:xfrm>
            <a:prstGeom prst="ellipse">
              <a:avLst/>
            </a:prstGeom>
            <a:solidFill>
              <a:schemeClr val="accent6">
                <a:lumMod val="50000"/>
              </a:schemeClr>
            </a:solidFill>
            <a:ln w="5144" cap="flat">
              <a:noFill/>
              <a:prstDash val="solid"/>
              <a:miter/>
            </a:ln>
          </p:spPr>
          <p:txBody>
            <a:bodyPr/>
            <a:lstStyle/>
            <a:p>
              <a:endParaRPr lang="en-US"/>
            </a:p>
          </p:txBody>
        </p:sp>
      </p:grpSp>
    </p:spTree>
    <p:custDataLst>
      <p:tags r:id="rId1"/>
    </p:custDataLst>
    <p:extLst>
      <p:ext uri="{BB962C8B-B14F-4D97-AF65-F5344CB8AC3E}">
        <p14:creationId xmlns:p14="http://schemas.microsoft.com/office/powerpoint/2010/main" val="156674744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0">
                                            <p:txEl>
                                              <p:pRg st="0" end="0"/>
                                            </p:txEl>
                                          </p:spTgt>
                                        </p:tgtEl>
                                        <p:attrNameLst>
                                          <p:attrName>style.visibility</p:attrName>
                                        </p:attrNameLst>
                                      </p:cBhvr>
                                      <p:to>
                                        <p:strVal val="visible"/>
                                      </p:to>
                                    </p:set>
                                    <p:animEffect transition="in" filter="fade">
                                      <p:cBhvr>
                                        <p:cTn id="10" dur="500"/>
                                        <p:tgtEl>
                                          <p:spTgt spid="10">
                                            <p:txEl>
                                              <p:pRg st="0" end="0"/>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15">
                                            <p:txEl>
                                              <p:pRg st="0" end="0"/>
                                            </p:txEl>
                                          </p:spTgt>
                                        </p:tgtEl>
                                        <p:attrNameLst>
                                          <p:attrName>style.visibility</p:attrName>
                                        </p:attrNameLst>
                                      </p:cBhvr>
                                      <p:to>
                                        <p:strVal val="visible"/>
                                      </p:to>
                                    </p:set>
                                    <p:animEffect transition="in" filter="fade">
                                      <p:cBhvr>
                                        <p:cTn id="13" dur="500"/>
                                        <p:tgtEl>
                                          <p:spTgt spid="15">
                                            <p:txEl>
                                              <p:pRg st="0" end="0"/>
                                            </p:txEl>
                                          </p:spTgt>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45">
                                            <p:txEl>
                                              <p:pRg st="0" end="0"/>
                                            </p:txEl>
                                          </p:spTgt>
                                        </p:tgtEl>
                                        <p:attrNameLst>
                                          <p:attrName>style.visibility</p:attrName>
                                        </p:attrNameLst>
                                      </p:cBhvr>
                                      <p:to>
                                        <p:strVal val="visible"/>
                                      </p:to>
                                    </p:set>
                                    <p:animEffect transition="in" filter="fade">
                                      <p:cBhvr>
                                        <p:cTn id="19" dur="500"/>
                                        <p:tgtEl>
                                          <p:spTgt spid="4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10" grpId="0" build="p"/>
      <p:bldP spid="15" grpId="0" build="p"/>
      <p:bldP spid="16" grpId="0" build="p"/>
      <p:bldP spid="45"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0E84B-DFB5-6126-3DD9-45FAF20ACA5B}"/>
            </a:ext>
          </a:extLst>
        </p:cNvPr>
        <p:cNvGrpSpPr/>
        <p:nvPr/>
      </p:nvGrpSpPr>
      <p:grpSpPr>
        <a:xfrm>
          <a:off x="0" y="0"/>
          <a:ext cx="0" cy="0"/>
          <a:chOff x="0" y="0"/>
          <a:chExt cx="0" cy="0"/>
        </a:xfrm>
      </p:grpSpPr>
      <p:grpSp>
        <p:nvGrpSpPr>
          <p:cNvPr id="30" name="!!VORM">
            <a:extLst>
              <a:ext uri="{FF2B5EF4-FFF2-40B4-BE49-F238E27FC236}">
                <a16:creationId xmlns:a16="http://schemas.microsoft.com/office/drawing/2014/main" id="{F4E318AB-9AA3-AF9F-0F56-3A2A3245CA65}"/>
              </a:ext>
            </a:extLst>
          </p:cNvPr>
          <p:cNvGrpSpPr/>
          <p:nvPr/>
        </p:nvGrpSpPr>
        <p:grpSpPr>
          <a:xfrm>
            <a:off x="-2637331" y="0"/>
            <a:ext cx="8373762" cy="6858000"/>
            <a:chOff x="3818239" y="-1"/>
            <a:chExt cx="8373762" cy="6857999"/>
          </a:xfrm>
        </p:grpSpPr>
        <p:sp>
          <p:nvSpPr>
            <p:cNvPr id="19" name="Rechthoek 18">
              <a:extLst>
                <a:ext uri="{FF2B5EF4-FFF2-40B4-BE49-F238E27FC236}">
                  <a16:creationId xmlns:a16="http://schemas.microsoft.com/office/drawing/2014/main" id="{AC8165F5-45E7-C6EE-4AE8-5F63A7C592AF}"/>
                </a:ext>
              </a:extLst>
            </p:cNvPr>
            <p:cNvSpPr/>
            <p:nvPr/>
          </p:nvSpPr>
          <p:spPr>
            <a:xfrm>
              <a:off x="3818239" y="-1"/>
              <a:ext cx="8373761" cy="68579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29" name="Vrije vorm 28">
              <a:extLst>
                <a:ext uri="{FF2B5EF4-FFF2-40B4-BE49-F238E27FC236}">
                  <a16:creationId xmlns:a16="http://schemas.microsoft.com/office/drawing/2014/main" id="{7B626322-F026-B2B7-A4F8-1E5AF3827373}"/>
                </a:ext>
              </a:extLst>
            </p:cNvPr>
            <p:cNvSpPr>
              <a:spLocks/>
            </p:cNvSpPr>
            <p:nvPr/>
          </p:nvSpPr>
          <p:spPr>
            <a:xfrm>
              <a:off x="3818240" y="-1"/>
              <a:ext cx="8373761"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err="1"/>
            </a:p>
          </p:txBody>
        </p:sp>
      </p:grpSp>
      <p:sp>
        <p:nvSpPr>
          <p:cNvPr id="13" name="Titel 12">
            <a:extLst>
              <a:ext uri="{FF2B5EF4-FFF2-40B4-BE49-F238E27FC236}">
                <a16:creationId xmlns:a16="http://schemas.microsoft.com/office/drawing/2014/main" id="{4C2638FB-0290-AB77-CFA7-0198C5AD9F73}"/>
              </a:ext>
            </a:extLst>
          </p:cNvPr>
          <p:cNvSpPr>
            <a:spLocks noGrp="1"/>
          </p:cNvSpPr>
          <p:nvPr>
            <p:ph type="title"/>
          </p:nvPr>
        </p:nvSpPr>
        <p:spPr/>
        <p:txBody>
          <a:bodyPr/>
          <a:lstStyle/>
          <a:p>
            <a:r>
              <a:rPr lang="en-GB"/>
              <a:t>Chapter | dark mode</a:t>
            </a:r>
          </a:p>
        </p:txBody>
      </p:sp>
      <p:sp>
        <p:nvSpPr>
          <p:cNvPr id="11" name="Tijdelijke aanduiding voor dianummer 10">
            <a:extLst>
              <a:ext uri="{FF2B5EF4-FFF2-40B4-BE49-F238E27FC236}">
                <a16:creationId xmlns:a16="http://schemas.microsoft.com/office/drawing/2014/main" id="{29AD8B49-8FFF-149A-3A77-4500639BE575}"/>
              </a:ext>
            </a:extLst>
          </p:cNvPr>
          <p:cNvSpPr>
            <a:spLocks noGrp="1"/>
          </p:cNvSpPr>
          <p:nvPr>
            <p:ph type="sldNum" sz="quarter" idx="12"/>
          </p:nvPr>
        </p:nvSpPr>
        <p:spPr/>
        <p:txBody>
          <a:bodyPr/>
          <a:lstStyle/>
          <a:p>
            <a:fld id="{9E843DB9-9987-4157-AB9C-CEA8D7D910BB}" type="slidenum">
              <a:rPr lang="en-GB" smtClean="0"/>
              <a:pPr/>
              <a:t>7</a:t>
            </a:fld>
            <a:endParaRPr lang="en-GB"/>
          </a:p>
        </p:txBody>
      </p:sp>
      <p:sp>
        <p:nvSpPr>
          <p:cNvPr id="3" name="Rechthoek 1">
            <a:extLst>
              <a:ext uri="{FF2B5EF4-FFF2-40B4-BE49-F238E27FC236}">
                <a16:creationId xmlns:a16="http://schemas.microsoft.com/office/drawing/2014/main" id="{E70CEEF1-DFCA-C5ED-F43D-98FF6FC98CC8}"/>
              </a:ext>
            </a:extLst>
          </p:cNvPr>
          <p:cNvSpPr>
            <a:spLocks/>
          </p:cNvSpPr>
          <p:nvPr/>
        </p:nvSpPr>
        <p:spPr>
          <a:xfrm>
            <a:off x="719138" y="2249377"/>
            <a:ext cx="5609281" cy="29414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4" name="Tijdelijke aanduiding voor tekst 3">
            <a:extLst>
              <a:ext uri="{FF2B5EF4-FFF2-40B4-BE49-F238E27FC236}">
                <a16:creationId xmlns:a16="http://schemas.microsoft.com/office/drawing/2014/main" id="{CC0A052D-42FC-9D53-C29A-38A6AB922F50}"/>
              </a:ext>
            </a:extLst>
          </p:cNvPr>
          <p:cNvSpPr txBox="1">
            <a:spLocks/>
          </p:cNvSpPr>
          <p:nvPr/>
        </p:nvSpPr>
        <p:spPr>
          <a:xfrm>
            <a:off x="1184679" y="2498732"/>
            <a:ext cx="5288703" cy="666849"/>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a:latin typeface="Arial" panose="020B0604020202020204" pitchFamily="34" charset="0"/>
                <a:cs typeface="Arial" panose="020B0604020202020204" pitchFamily="34" charset="0"/>
              </a:rPr>
              <a:t>Autonomy</a:t>
            </a:r>
          </a:p>
        </p:txBody>
      </p:sp>
      <p:sp>
        <p:nvSpPr>
          <p:cNvPr id="5" name="Tijdelijke aanduiding voor tekst 5">
            <a:extLst>
              <a:ext uri="{FF2B5EF4-FFF2-40B4-BE49-F238E27FC236}">
                <a16:creationId xmlns:a16="http://schemas.microsoft.com/office/drawing/2014/main" id="{D43A1970-7A2B-ED96-B614-632BADA997ED}"/>
              </a:ext>
            </a:extLst>
          </p:cNvPr>
          <p:cNvSpPr txBox="1">
            <a:spLocks/>
          </p:cNvSpPr>
          <p:nvPr/>
        </p:nvSpPr>
        <p:spPr>
          <a:xfrm>
            <a:off x="1184679" y="3436467"/>
            <a:ext cx="4107757" cy="1483483"/>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pPr marL="342900" indent="-342900">
              <a:buClr>
                <a:schemeClr val="bg1"/>
              </a:buClr>
              <a:buSzPct val="130000"/>
              <a:buFont typeface="Arial" panose="020B0604020202020204" pitchFamily="34" charset="0"/>
              <a:buChar char="•"/>
            </a:pPr>
            <a:r>
              <a:rPr lang="en-US"/>
              <a:t>Authenticity of values and norms that humans act on </a:t>
            </a:r>
          </a:p>
          <a:p>
            <a:pPr marL="342900" indent="-342900">
              <a:buClr>
                <a:schemeClr val="bg1"/>
              </a:buClr>
              <a:buSzPct val="130000"/>
              <a:buFont typeface="Arial" panose="020B0604020202020204" pitchFamily="34" charset="0"/>
              <a:buChar char="•"/>
            </a:pPr>
            <a:r>
              <a:rPr lang="en-US"/>
              <a:t>Maintaining competencies that grant humans self-rule</a:t>
            </a:r>
            <a:endParaRPr lang="en-GB"/>
          </a:p>
        </p:txBody>
      </p:sp>
      <p:sp>
        <p:nvSpPr>
          <p:cNvPr id="6" name="Tijdelijke aanduiding voor tekst 5">
            <a:extLst>
              <a:ext uri="{FF2B5EF4-FFF2-40B4-BE49-F238E27FC236}">
                <a16:creationId xmlns:a16="http://schemas.microsoft.com/office/drawing/2014/main" id="{09B0D426-A047-06E8-7AE6-E9BB2F568D93}"/>
              </a:ext>
            </a:extLst>
          </p:cNvPr>
          <p:cNvSpPr txBox="1"/>
          <p:nvPr/>
        </p:nvSpPr>
        <p:spPr>
          <a:xfrm>
            <a:off x="8168285" y="4507322"/>
            <a:ext cx="3304577" cy="664797"/>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US">
                <a:solidFill>
                  <a:schemeClr val="tx1"/>
                </a:solidFill>
              </a:rPr>
              <a:t>High predictive accuracy and detection capabilities</a:t>
            </a:r>
            <a:endParaRPr lang="en-GB">
              <a:solidFill>
                <a:schemeClr val="tx1"/>
              </a:solidFill>
            </a:endParaRPr>
          </a:p>
        </p:txBody>
      </p:sp>
      <p:sp>
        <p:nvSpPr>
          <p:cNvPr id="10" name="Tijdelijke aanduiding voor tekst 5">
            <a:extLst>
              <a:ext uri="{FF2B5EF4-FFF2-40B4-BE49-F238E27FC236}">
                <a16:creationId xmlns:a16="http://schemas.microsoft.com/office/drawing/2014/main" id="{A1FBC4C7-54AB-0B7F-2564-2302290CD032}"/>
              </a:ext>
            </a:extLst>
          </p:cNvPr>
          <p:cNvSpPr txBox="1"/>
          <p:nvPr/>
        </p:nvSpPr>
        <p:spPr>
          <a:xfrm>
            <a:off x="8155902" y="1600979"/>
            <a:ext cx="3304577" cy="997196"/>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US">
                <a:solidFill>
                  <a:schemeClr val="tx1"/>
                </a:solidFill>
              </a:rPr>
              <a:t>Comprised of human road users and affected by their behavior and action</a:t>
            </a:r>
            <a:endParaRPr lang="en-GB" sz="2000">
              <a:solidFill>
                <a:schemeClr val="tx1"/>
              </a:solidFill>
            </a:endParaRPr>
          </a:p>
        </p:txBody>
      </p:sp>
      <p:sp>
        <p:nvSpPr>
          <p:cNvPr id="17" name="Tijdelijke aanduiding voor tekst 5">
            <a:extLst>
              <a:ext uri="{FF2B5EF4-FFF2-40B4-BE49-F238E27FC236}">
                <a16:creationId xmlns:a16="http://schemas.microsoft.com/office/drawing/2014/main" id="{91832593-74DA-D6E1-E244-1A3F65C8D4B6}"/>
              </a:ext>
            </a:extLst>
          </p:cNvPr>
          <p:cNvSpPr txBox="1"/>
          <p:nvPr/>
        </p:nvSpPr>
        <p:spPr>
          <a:xfrm>
            <a:off x="6745006" y="921603"/>
            <a:ext cx="3548417"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b="1">
                <a:solidFill>
                  <a:schemeClr val="tx1"/>
                </a:solidFill>
              </a:rPr>
              <a:t>Road Transport Systems:</a:t>
            </a:r>
          </a:p>
        </p:txBody>
      </p:sp>
      <p:sp>
        <p:nvSpPr>
          <p:cNvPr id="18" name="Tijdelijke aanduiding voor tekst 5">
            <a:extLst>
              <a:ext uri="{FF2B5EF4-FFF2-40B4-BE49-F238E27FC236}">
                <a16:creationId xmlns:a16="http://schemas.microsoft.com/office/drawing/2014/main" id="{17C4E436-467A-3EBD-0161-30E95DD375F8}"/>
              </a:ext>
            </a:extLst>
          </p:cNvPr>
          <p:cNvSpPr txBox="1"/>
          <p:nvPr/>
        </p:nvSpPr>
        <p:spPr>
          <a:xfrm>
            <a:off x="6745006" y="3930703"/>
            <a:ext cx="3548417"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b="1">
                <a:solidFill>
                  <a:schemeClr val="tx1"/>
                </a:solidFill>
              </a:rPr>
              <a:t>AI Systems:</a:t>
            </a:r>
          </a:p>
        </p:txBody>
      </p:sp>
      <p:grpSp>
        <p:nvGrpSpPr>
          <p:cNvPr id="38" name="Group 37">
            <a:extLst>
              <a:ext uri="{FF2B5EF4-FFF2-40B4-BE49-F238E27FC236}">
                <a16:creationId xmlns:a16="http://schemas.microsoft.com/office/drawing/2014/main" id="{A507705A-588F-6484-3227-EB40547232D0}"/>
              </a:ext>
            </a:extLst>
          </p:cNvPr>
          <p:cNvGrpSpPr/>
          <p:nvPr/>
        </p:nvGrpSpPr>
        <p:grpSpPr>
          <a:xfrm>
            <a:off x="7256077" y="1736879"/>
            <a:ext cx="672242" cy="649204"/>
            <a:chOff x="7256078" y="2769198"/>
            <a:chExt cx="672242" cy="649204"/>
          </a:xfrm>
        </p:grpSpPr>
        <p:sp>
          <p:nvSpPr>
            <p:cNvPr id="24" name="Freeform: Shape 23">
              <a:extLst>
                <a:ext uri="{FF2B5EF4-FFF2-40B4-BE49-F238E27FC236}">
                  <a16:creationId xmlns:a16="http://schemas.microsoft.com/office/drawing/2014/main" id="{74158934-4758-19DE-008F-126A8FFFA5C7}"/>
                </a:ext>
              </a:extLst>
            </p:cNvPr>
            <p:cNvSpPr/>
            <p:nvPr/>
          </p:nvSpPr>
          <p:spPr>
            <a:xfrm>
              <a:off x="7529176" y="2837193"/>
              <a:ext cx="196070" cy="28010"/>
            </a:xfrm>
            <a:custGeom>
              <a:avLst/>
              <a:gdLst>
                <a:gd name="csX0" fmla="*/ 0 w 196070"/>
                <a:gd name="csY0" fmla="*/ 0 h 28010"/>
                <a:gd name="csX1" fmla="*/ 196071 w 196070"/>
                <a:gd name="csY1" fmla="*/ 28010 h 28010"/>
              </a:gdLst>
              <a:ahLst/>
              <a:cxnLst>
                <a:cxn ang="0">
                  <a:pos x="csX0" y="csY0"/>
                </a:cxn>
                <a:cxn ang="0">
                  <a:pos x="csX1" y="csY1"/>
                </a:cxn>
              </a:cxnLst>
              <a:rect l="l" t="t" r="r" b="b"/>
              <a:pathLst>
                <a:path w="196070" h="28010">
                  <a:moveTo>
                    <a:pt x="0" y="0"/>
                  </a:moveTo>
                  <a:lnTo>
                    <a:pt x="196071" y="28010"/>
                  </a:lnTo>
                </a:path>
              </a:pathLst>
            </a:custGeom>
            <a:ln w="55880" cap="sq">
              <a:solidFill>
                <a:srgbClr val="93AEC9"/>
              </a:solidFill>
              <a:prstDash val="solid"/>
              <a:round/>
            </a:ln>
          </p:spPr>
          <p:txBody>
            <a:bodyPr/>
            <a:lstStyle/>
            <a:p>
              <a:endParaRPr lang="en-US"/>
            </a:p>
          </p:txBody>
        </p:sp>
        <p:sp>
          <p:nvSpPr>
            <p:cNvPr id="25" name="Freeform: Shape 24">
              <a:extLst>
                <a:ext uri="{FF2B5EF4-FFF2-40B4-BE49-F238E27FC236}">
                  <a16:creationId xmlns:a16="http://schemas.microsoft.com/office/drawing/2014/main" id="{44102335-216F-482E-7E67-8B6E4C554D68}"/>
                </a:ext>
              </a:extLst>
            </p:cNvPr>
            <p:cNvSpPr/>
            <p:nvPr/>
          </p:nvSpPr>
          <p:spPr>
            <a:xfrm>
              <a:off x="7409643" y="2837193"/>
              <a:ext cx="119533" cy="441649"/>
            </a:xfrm>
            <a:custGeom>
              <a:avLst/>
              <a:gdLst>
                <a:gd name="csX0" fmla="*/ 119533 w 119533"/>
                <a:gd name="csY0" fmla="*/ 0 h 441649"/>
                <a:gd name="csX1" fmla="*/ 0 w 119533"/>
                <a:gd name="csY1" fmla="*/ 257133 h 441649"/>
                <a:gd name="csX2" fmla="*/ 0 w 119533"/>
                <a:gd name="csY2" fmla="*/ 441649 h 441649"/>
              </a:gdLst>
              <a:ahLst/>
              <a:cxnLst>
                <a:cxn ang="0">
                  <a:pos x="csX0" y="csY0"/>
                </a:cxn>
                <a:cxn ang="0">
                  <a:pos x="csX1" y="csY1"/>
                </a:cxn>
                <a:cxn ang="0">
                  <a:pos x="csX2" y="csY2"/>
                </a:cxn>
              </a:cxnLst>
              <a:rect l="l" t="t" r="r" b="b"/>
              <a:pathLst>
                <a:path w="119533" h="441649">
                  <a:moveTo>
                    <a:pt x="119533" y="0"/>
                  </a:moveTo>
                  <a:lnTo>
                    <a:pt x="0" y="257133"/>
                  </a:lnTo>
                  <a:lnTo>
                    <a:pt x="0" y="441649"/>
                  </a:lnTo>
                </a:path>
              </a:pathLst>
            </a:custGeom>
            <a:noFill/>
            <a:ln w="55880" cap="sq">
              <a:solidFill>
                <a:srgbClr val="93AEC9"/>
              </a:solidFill>
              <a:prstDash val="solid"/>
              <a:round/>
            </a:ln>
          </p:spPr>
          <p:txBody>
            <a:bodyPr/>
            <a:lstStyle/>
            <a:p>
              <a:endParaRPr lang="en-US"/>
            </a:p>
          </p:txBody>
        </p:sp>
        <p:sp>
          <p:nvSpPr>
            <p:cNvPr id="26" name="Oval 25">
              <a:extLst>
                <a:ext uri="{FF2B5EF4-FFF2-40B4-BE49-F238E27FC236}">
                  <a16:creationId xmlns:a16="http://schemas.microsoft.com/office/drawing/2014/main" id="{9DAD5226-A5D3-A9B7-3895-FE43BE6128A2}"/>
                </a:ext>
              </a:extLst>
            </p:cNvPr>
            <p:cNvSpPr/>
            <p:nvPr/>
          </p:nvSpPr>
          <p:spPr>
            <a:xfrm>
              <a:off x="7462652" y="2769198"/>
              <a:ext cx="132067" cy="132067"/>
            </a:xfrm>
            <a:prstGeom prst="ellipse">
              <a:avLst/>
            </a:prstGeom>
            <a:solidFill>
              <a:srgbClr val="FFFFFF"/>
            </a:solidFill>
            <a:ln w="55880" cap="flat">
              <a:solidFill>
                <a:schemeClr val="accent3"/>
              </a:solidFill>
              <a:prstDash val="solid"/>
              <a:round/>
            </a:ln>
          </p:spPr>
          <p:txBody>
            <a:bodyPr/>
            <a:lstStyle/>
            <a:p>
              <a:endParaRPr lang="en-US"/>
            </a:p>
          </p:txBody>
        </p:sp>
        <p:sp>
          <p:nvSpPr>
            <p:cNvPr id="27" name="Freeform: Shape 26">
              <a:extLst>
                <a:ext uri="{FF2B5EF4-FFF2-40B4-BE49-F238E27FC236}">
                  <a16:creationId xmlns:a16="http://schemas.microsoft.com/office/drawing/2014/main" id="{8926E897-D597-5A9E-2835-84E0789E52D2}"/>
                </a:ext>
              </a:extLst>
            </p:cNvPr>
            <p:cNvSpPr/>
            <p:nvPr/>
          </p:nvSpPr>
          <p:spPr>
            <a:xfrm>
              <a:off x="7755112" y="2835757"/>
              <a:ext cx="104583" cy="119638"/>
            </a:xfrm>
            <a:custGeom>
              <a:avLst/>
              <a:gdLst>
                <a:gd name="csX0" fmla="*/ 27486 w 104583"/>
                <a:gd name="csY0" fmla="*/ 119639 h 119638"/>
                <a:gd name="csX1" fmla="*/ 12430 w 104583"/>
                <a:gd name="csY1" fmla="*/ 27486 h 119638"/>
                <a:gd name="csX2" fmla="*/ 104583 w 104583"/>
                <a:gd name="csY2" fmla="*/ 12430 h 119638"/>
              </a:gdLst>
              <a:ahLst/>
              <a:cxnLst>
                <a:cxn ang="0">
                  <a:pos x="csX0" y="csY0"/>
                </a:cxn>
                <a:cxn ang="0">
                  <a:pos x="csX1" y="csY1"/>
                </a:cxn>
                <a:cxn ang="0">
                  <a:pos x="csX2" y="csY2"/>
                </a:cxn>
              </a:cxnLst>
              <a:rect l="l" t="t" r="r" b="b"/>
              <a:pathLst>
                <a:path w="104583" h="119638">
                  <a:moveTo>
                    <a:pt x="27486" y="119639"/>
                  </a:moveTo>
                  <a:cubicBezTo>
                    <a:pt x="-2135" y="98351"/>
                    <a:pt x="-8858" y="57106"/>
                    <a:pt x="12430" y="27486"/>
                  </a:cubicBezTo>
                  <a:cubicBezTo>
                    <a:pt x="33718" y="-2135"/>
                    <a:pt x="74963" y="-8858"/>
                    <a:pt x="104583" y="12430"/>
                  </a:cubicBezTo>
                </a:path>
              </a:pathLst>
            </a:custGeom>
            <a:noFill/>
            <a:ln w="55880" cap="flat">
              <a:solidFill>
                <a:srgbClr val="CCDAE8"/>
              </a:solidFill>
              <a:prstDash val="solid"/>
              <a:round/>
            </a:ln>
          </p:spPr>
          <p:txBody>
            <a:bodyPr/>
            <a:lstStyle/>
            <a:p>
              <a:endParaRPr lang="en-US"/>
            </a:p>
          </p:txBody>
        </p:sp>
        <p:sp>
          <p:nvSpPr>
            <p:cNvPr id="28" name="Oval 27">
              <a:extLst>
                <a:ext uri="{FF2B5EF4-FFF2-40B4-BE49-F238E27FC236}">
                  <a16:creationId xmlns:a16="http://schemas.microsoft.com/office/drawing/2014/main" id="{80980320-A9D9-72B0-1B35-97A0B8810988}"/>
                </a:ext>
              </a:extLst>
            </p:cNvPr>
            <p:cNvSpPr/>
            <p:nvPr/>
          </p:nvSpPr>
          <p:spPr>
            <a:xfrm>
              <a:off x="7272394" y="3028362"/>
              <a:ext cx="274499" cy="274499"/>
            </a:xfrm>
            <a:prstGeom prst="ellipse">
              <a:avLst/>
            </a:prstGeom>
            <a:solidFill>
              <a:schemeClr val="accent3"/>
            </a:solidFill>
            <a:ln w="34925" cap="sq">
              <a:solidFill>
                <a:schemeClr val="accent3"/>
              </a:solidFill>
              <a:prstDash val="solid"/>
              <a:round/>
            </a:ln>
          </p:spPr>
          <p:txBody>
            <a:bodyPr/>
            <a:lstStyle/>
            <a:p>
              <a:endParaRPr lang="en-US"/>
            </a:p>
          </p:txBody>
        </p:sp>
        <p:sp>
          <p:nvSpPr>
            <p:cNvPr id="32" name="Freeform: Shape 31">
              <a:extLst>
                <a:ext uri="{FF2B5EF4-FFF2-40B4-BE49-F238E27FC236}">
                  <a16:creationId xmlns:a16="http://schemas.microsoft.com/office/drawing/2014/main" id="{1CCDA97E-3C6C-037A-CD33-929BC3FE3E93}"/>
                </a:ext>
              </a:extLst>
            </p:cNvPr>
            <p:cNvSpPr/>
            <p:nvPr/>
          </p:nvSpPr>
          <p:spPr>
            <a:xfrm>
              <a:off x="7256078" y="3411400"/>
              <a:ext cx="672242" cy="7002"/>
            </a:xfrm>
            <a:custGeom>
              <a:avLst/>
              <a:gdLst>
                <a:gd name="csX0" fmla="*/ 0 w 672242"/>
                <a:gd name="csY0" fmla="*/ 0 h 7002"/>
                <a:gd name="csX1" fmla="*/ 672243 w 672242"/>
                <a:gd name="csY1" fmla="*/ 0 h 7002"/>
              </a:gdLst>
              <a:ahLst/>
              <a:cxnLst>
                <a:cxn ang="0">
                  <a:pos x="csX0" y="csY0"/>
                </a:cxn>
                <a:cxn ang="0">
                  <a:pos x="csX1" y="csY1"/>
                </a:cxn>
              </a:cxnLst>
              <a:rect l="l" t="t" r="r" b="b"/>
              <a:pathLst>
                <a:path w="672242" h="7002">
                  <a:moveTo>
                    <a:pt x="0" y="0"/>
                  </a:moveTo>
                  <a:lnTo>
                    <a:pt x="672243" y="0"/>
                  </a:lnTo>
                </a:path>
              </a:pathLst>
            </a:custGeom>
            <a:ln w="69850" cap="flat">
              <a:solidFill>
                <a:srgbClr val="CCDAE8"/>
              </a:solidFill>
              <a:prstDash val="solid"/>
              <a:round/>
            </a:ln>
          </p:spPr>
          <p:txBody>
            <a:bodyPr/>
            <a:lstStyle/>
            <a:p>
              <a:endParaRPr lang="en-US"/>
            </a:p>
          </p:txBody>
        </p:sp>
      </p:grpSp>
      <p:sp>
        <p:nvSpPr>
          <p:cNvPr id="39" name="Tijdelijke aanduiding voor tekst 5">
            <a:extLst>
              <a:ext uri="{FF2B5EF4-FFF2-40B4-BE49-F238E27FC236}">
                <a16:creationId xmlns:a16="http://schemas.microsoft.com/office/drawing/2014/main" id="{845570F5-26AF-5298-5818-0651BECD7CEF}"/>
              </a:ext>
            </a:extLst>
          </p:cNvPr>
          <p:cNvSpPr txBox="1"/>
          <p:nvPr/>
        </p:nvSpPr>
        <p:spPr>
          <a:xfrm>
            <a:off x="8168285" y="5522754"/>
            <a:ext cx="3197897" cy="664797"/>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US">
                <a:solidFill>
                  <a:schemeClr val="tx1"/>
                </a:solidFill>
              </a:rPr>
              <a:t>Surrounded by marketing hypes and hopes</a:t>
            </a:r>
            <a:endParaRPr lang="en-GB">
              <a:solidFill>
                <a:schemeClr val="tx1"/>
              </a:solidFill>
            </a:endParaRPr>
          </a:p>
        </p:txBody>
      </p:sp>
      <p:grpSp>
        <p:nvGrpSpPr>
          <p:cNvPr id="46" name="Group 45">
            <a:extLst>
              <a:ext uri="{FF2B5EF4-FFF2-40B4-BE49-F238E27FC236}">
                <a16:creationId xmlns:a16="http://schemas.microsoft.com/office/drawing/2014/main" id="{DC027595-B658-64ED-AC24-A1A685896DF6}"/>
              </a:ext>
            </a:extLst>
          </p:cNvPr>
          <p:cNvGrpSpPr/>
          <p:nvPr/>
        </p:nvGrpSpPr>
        <p:grpSpPr>
          <a:xfrm>
            <a:off x="7297360" y="5617292"/>
            <a:ext cx="499064" cy="490014"/>
            <a:chOff x="7316819" y="5722089"/>
            <a:chExt cx="499064" cy="490014"/>
          </a:xfrm>
        </p:grpSpPr>
        <p:sp>
          <p:nvSpPr>
            <p:cNvPr id="42" name="Freeform: Shape 41">
              <a:extLst>
                <a:ext uri="{FF2B5EF4-FFF2-40B4-BE49-F238E27FC236}">
                  <a16:creationId xmlns:a16="http://schemas.microsoft.com/office/drawing/2014/main" id="{7E8E3F06-29B3-9CFC-4446-86BC1501090A}"/>
                </a:ext>
              </a:extLst>
            </p:cNvPr>
            <p:cNvSpPr/>
            <p:nvPr/>
          </p:nvSpPr>
          <p:spPr>
            <a:xfrm>
              <a:off x="7628614" y="6025276"/>
              <a:ext cx="187269" cy="186827"/>
            </a:xfrm>
            <a:custGeom>
              <a:avLst/>
              <a:gdLst>
                <a:gd name="csX0" fmla="*/ 116254 w 187269"/>
                <a:gd name="csY0" fmla="*/ 105849 h 186827"/>
                <a:gd name="csX1" fmla="*/ 185916 w 187269"/>
                <a:gd name="csY1" fmla="*/ 95439 h 186827"/>
                <a:gd name="csX2" fmla="*/ 185916 w 187269"/>
                <a:gd name="csY2" fmla="*/ 92277 h 186827"/>
                <a:gd name="csX3" fmla="*/ 116254 w 187269"/>
                <a:gd name="csY3" fmla="*/ 81867 h 186827"/>
                <a:gd name="csX4" fmla="*/ 105844 w 187269"/>
                <a:gd name="csY4" fmla="*/ 71457 h 186827"/>
                <a:gd name="csX5" fmla="*/ 94995 w 187269"/>
                <a:gd name="csY5" fmla="*/ 1352 h 186827"/>
                <a:gd name="csX6" fmla="*/ 91833 w 187269"/>
                <a:gd name="csY6" fmla="*/ 1352 h 186827"/>
                <a:gd name="csX7" fmla="*/ 81423 w 187269"/>
                <a:gd name="csY7" fmla="*/ 71014 h 186827"/>
                <a:gd name="csX8" fmla="*/ 71014 w 187269"/>
                <a:gd name="csY8" fmla="*/ 81424 h 186827"/>
                <a:gd name="csX9" fmla="*/ 1352 w 187269"/>
                <a:gd name="csY9" fmla="*/ 91834 h 186827"/>
                <a:gd name="csX10" fmla="*/ 1352 w 187269"/>
                <a:gd name="csY10" fmla="*/ 94996 h 186827"/>
                <a:gd name="csX11" fmla="*/ 71014 w 187269"/>
                <a:gd name="csY11" fmla="*/ 105406 h 186827"/>
                <a:gd name="csX12" fmla="*/ 81423 w 187269"/>
                <a:gd name="csY12" fmla="*/ 115811 h 186827"/>
                <a:gd name="csX13" fmla="*/ 91833 w 187269"/>
                <a:gd name="csY13" fmla="*/ 185473 h 186827"/>
                <a:gd name="csX14" fmla="*/ 94995 w 187269"/>
                <a:gd name="csY14" fmla="*/ 185473 h 186827"/>
                <a:gd name="csX15" fmla="*/ 105405 w 187269"/>
                <a:gd name="csY15" fmla="*/ 115811 h 186827"/>
                <a:gd name="csX16" fmla="*/ 116254 w 187269"/>
                <a:gd name="csY16" fmla="*/ 105845 h 186827"/>
                <a:gd name="csX17" fmla="*/ 116254 w 187269"/>
                <a:gd name="csY17" fmla="*/ 105849 h 18682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187269" h="186827">
                  <a:moveTo>
                    <a:pt x="116254" y="105849"/>
                  </a:moveTo>
                  <a:lnTo>
                    <a:pt x="185916" y="95439"/>
                  </a:lnTo>
                  <a:cubicBezTo>
                    <a:pt x="187721" y="94978"/>
                    <a:pt x="187721" y="92277"/>
                    <a:pt x="185916" y="92277"/>
                  </a:cubicBezTo>
                  <a:lnTo>
                    <a:pt x="116254" y="81867"/>
                  </a:lnTo>
                  <a:cubicBezTo>
                    <a:pt x="110829" y="80967"/>
                    <a:pt x="106749" y="76881"/>
                    <a:pt x="105844" y="71457"/>
                  </a:cubicBezTo>
                  <a:lnTo>
                    <a:pt x="94995" y="1352"/>
                  </a:lnTo>
                  <a:cubicBezTo>
                    <a:pt x="94534" y="-451"/>
                    <a:pt x="91833" y="-451"/>
                    <a:pt x="91833" y="1352"/>
                  </a:cubicBezTo>
                  <a:lnTo>
                    <a:pt x="81423" y="71014"/>
                  </a:lnTo>
                  <a:cubicBezTo>
                    <a:pt x="80523" y="76438"/>
                    <a:pt x="76437" y="80523"/>
                    <a:pt x="71014" y="81424"/>
                  </a:cubicBezTo>
                  <a:lnTo>
                    <a:pt x="1352" y="91834"/>
                  </a:lnTo>
                  <a:cubicBezTo>
                    <a:pt x="-451" y="92290"/>
                    <a:pt x="-451" y="94996"/>
                    <a:pt x="1352" y="94996"/>
                  </a:cubicBezTo>
                  <a:lnTo>
                    <a:pt x="71014" y="105406"/>
                  </a:lnTo>
                  <a:cubicBezTo>
                    <a:pt x="76437" y="106306"/>
                    <a:pt x="80523" y="110387"/>
                    <a:pt x="81423" y="115811"/>
                  </a:cubicBezTo>
                  <a:lnTo>
                    <a:pt x="91833" y="185473"/>
                  </a:lnTo>
                  <a:cubicBezTo>
                    <a:pt x="92290" y="187278"/>
                    <a:pt x="94995" y="187278"/>
                    <a:pt x="94995" y="185473"/>
                  </a:cubicBezTo>
                  <a:lnTo>
                    <a:pt x="105405" y="115811"/>
                  </a:lnTo>
                  <a:cubicBezTo>
                    <a:pt x="106305" y="110830"/>
                    <a:pt x="110829" y="106763"/>
                    <a:pt x="116254" y="105845"/>
                  </a:cubicBezTo>
                  <a:lnTo>
                    <a:pt x="116254" y="105849"/>
                  </a:lnTo>
                  <a:close/>
                </a:path>
              </a:pathLst>
            </a:custGeom>
            <a:solidFill>
              <a:srgbClr val="CCDAE8"/>
            </a:solidFill>
            <a:ln w="36068" cap="flat">
              <a:solidFill>
                <a:srgbClr val="B8CBDE"/>
              </a:solidFill>
              <a:prstDash val="solid"/>
              <a:miter/>
            </a:ln>
          </p:spPr>
          <p:txBody>
            <a:bodyPr/>
            <a:lstStyle/>
            <a:p>
              <a:endParaRPr lang="en-US"/>
            </a:p>
          </p:txBody>
        </p:sp>
        <p:sp>
          <p:nvSpPr>
            <p:cNvPr id="43" name="Freeform: Shape 42">
              <a:extLst>
                <a:ext uri="{FF2B5EF4-FFF2-40B4-BE49-F238E27FC236}">
                  <a16:creationId xmlns:a16="http://schemas.microsoft.com/office/drawing/2014/main" id="{61F2EEE7-D822-C5EE-B24B-4BB822D427E9}"/>
                </a:ext>
              </a:extLst>
            </p:cNvPr>
            <p:cNvSpPr/>
            <p:nvPr/>
          </p:nvSpPr>
          <p:spPr>
            <a:xfrm>
              <a:off x="7646744" y="5722089"/>
              <a:ext cx="96719" cy="96492"/>
            </a:xfrm>
            <a:custGeom>
              <a:avLst/>
              <a:gdLst>
                <a:gd name="csX0" fmla="*/ 60044 w 96719"/>
                <a:gd name="csY0" fmla="*/ 54668 h 96492"/>
                <a:gd name="csX1" fmla="*/ 96020 w 96719"/>
                <a:gd name="csY1" fmla="*/ 49292 h 96492"/>
                <a:gd name="csX2" fmla="*/ 96020 w 96719"/>
                <a:gd name="csY2" fmla="*/ 47658 h 96492"/>
                <a:gd name="csX3" fmla="*/ 60044 w 96719"/>
                <a:gd name="csY3" fmla="*/ 42282 h 96492"/>
                <a:gd name="csX4" fmla="*/ 54667 w 96719"/>
                <a:gd name="csY4" fmla="*/ 36906 h 96492"/>
                <a:gd name="csX5" fmla="*/ 49063 w 96719"/>
                <a:gd name="csY5" fmla="*/ 698 h 96492"/>
                <a:gd name="csX6" fmla="*/ 47429 w 96719"/>
                <a:gd name="csY6" fmla="*/ 698 h 96492"/>
                <a:gd name="csX7" fmla="*/ 42053 w 96719"/>
                <a:gd name="csY7" fmla="*/ 36677 h 96492"/>
                <a:gd name="csX8" fmla="*/ 36677 w 96719"/>
                <a:gd name="csY8" fmla="*/ 42053 h 96492"/>
                <a:gd name="csX9" fmla="*/ 698 w 96719"/>
                <a:gd name="csY9" fmla="*/ 47429 h 96492"/>
                <a:gd name="csX10" fmla="*/ 698 w 96719"/>
                <a:gd name="csY10" fmla="*/ 49063 h 96492"/>
                <a:gd name="csX11" fmla="*/ 36677 w 96719"/>
                <a:gd name="csY11" fmla="*/ 54439 h 96492"/>
                <a:gd name="csX12" fmla="*/ 42053 w 96719"/>
                <a:gd name="csY12" fmla="*/ 59815 h 96492"/>
                <a:gd name="csX13" fmla="*/ 47429 w 96719"/>
                <a:gd name="csY13" fmla="*/ 95794 h 96492"/>
                <a:gd name="csX14" fmla="*/ 49063 w 96719"/>
                <a:gd name="csY14" fmla="*/ 95794 h 96492"/>
                <a:gd name="csX15" fmla="*/ 54439 w 96719"/>
                <a:gd name="csY15" fmla="*/ 59815 h 96492"/>
                <a:gd name="csX16" fmla="*/ 60044 w 96719"/>
                <a:gd name="csY16" fmla="*/ 54667 h 96492"/>
                <a:gd name="csX17" fmla="*/ 60044 w 96719"/>
                <a:gd name="csY17" fmla="*/ 54668 h 9649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96719" h="96492">
                  <a:moveTo>
                    <a:pt x="60044" y="54668"/>
                  </a:moveTo>
                  <a:lnTo>
                    <a:pt x="96020" y="49292"/>
                  </a:lnTo>
                  <a:cubicBezTo>
                    <a:pt x="96952" y="49055"/>
                    <a:pt x="96952" y="47658"/>
                    <a:pt x="96020" y="47658"/>
                  </a:cubicBezTo>
                  <a:lnTo>
                    <a:pt x="60044" y="42282"/>
                  </a:lnTo>
                  <a:cubicBezTo>
                    <a:pt x="57240" y="41816"/>
                    <a:pt x="55132" y="39708"/>
                    <a:pt x="54667" y="36906"/>
                  </a:cubicBezTo>
                  <a:lnTo>
                    <a:pt x="49063" y="698"/>
                  </a:lnTo>
                  <a:cubicBezTo>
                    <a:pt x="48825" y="-233"/>
                    <a:pt x="47429" y="-233"/>
                    <a:pt x="47429" y="698"/>
                  </a:cubicBezTo>
                  <a:lnTo>
                    <a:pt x="42053" y="36677"/>
                  </a:lnTo>
                  <a:cubicBezTo>
                    <a:pt x="41588" y="39479"/>
                    <a:pt x="39479" y="41588"/>
                    <a:pt x="36677" y="42053"/>
                  </a:cubicBezTo>
                  <a:lnTo>
                    <a:pt x="698" y="47429"/>
                  </a:lnTo>
                  <a:cubicBezTo>
                    <a:pt x="-233" y="47667"/>
                    <a:pt x="-233" y="49063"/>
                    <a:pt x="698" y="49063"/>
                  </a:cubicBezTo>
                  <a:lnTo>
                    <a:pt x="36677" y="54439"/>
                  </a:lnTo>
                  <a:cubicBezTo>
                    <a:pt x="39479" y="54905"/>
                    <a:pt x="41588" y="57013"/>
                    <a:pt x="42053" y="59815"/>
                  </a:cubicBezTo>
                  <a:lnTo>
                    <a:pt x="47429" y="95794"/>
                  </a:lnTo>
                  <a:cubicBezTo>
                    <a:pt x="47666" y="96725"/>
                    <a:pt x="49063" y="96725"/>
                    <a:pt x="49063" y="95794"/>
                  </a:cubicBezTo>
                  <a:lnTo>
                    <a:pt x="54439" y="59815"/>
                  </a:lnTo>
                  <a:cubicBezTo>
                    <a:pt x="54904" y="57241"/>
                    <a:pt x="57240" y="55142"/>
                    <a:pt x="60044" y="54667"/>
                  </a:cubicBezTo>
                  <a:lnTo>
                    <a:pt x="60044" y="54668"/>
                  </a:lnTo>
                  <a:close/>
                </a:path>
              </a:pathLst>
            </a:custGeom>
            <a:solidFill>
              <a:srgbClr val="93AEC9"/>
            </a:solidFill>
            <a:ln w="40577" cap="flat">
              <a:solidFill>
                <a:schemeClr val="accent1"/>
              </a:solidFill>
              <a:prstDash val="solid"/>
              <a:round/>
            </a:ln>
          </p:spPr>
          <p:txBody>
            <a:bodyPr/>
            <a:lstStyle/>
            <a:p>
              <a:endParaRPr lang="en-US"/>
            </a:p>
          </p:txBody>
        </p:sp>
        <p:sp>
          <p:nvSpPr>
            <p:cNvPr id="44" name="Freeform: Shape 43">
              <a:extLst>
                <a:ext uri="{FF2B5EF4-FFF2-40B4-BE49-F238E27FC236}">
                  <a16:creationId xmlns:a16="http://schemas.microsoft.com/office/drawing/2014/main" id="{BA0031F2-0F99-41D1-275F-D60E10219DEB}"/>
                </a:ext>
              </a:extLst>
            </p:cNvPr>
            <p:cNvSpPr/>
            <p:nvPr/>
          </p:nvSpPr>
          <p:spPr>
            <a:xfrm>
              <a:off x="7316819" y="5727287"/>
              <a:ext cx="385594" cy="384682"/>
            </a:xfrm>
            <a:custGeom>
              <a:avLst/>
              <a:gdLst>
                <a:gd name="csX0" fmla="*/ 239373 w 385594"/>
                <a:gd name="csY0" fmla="*/ 217945 h 384682"/>
                <a:gd name="csX1" fmla="*/ 382810 w 385594"/>
                <a:gd name="csY1" fmla="*/ 196512 h 384682"/>
                <a:gd name="csX2" fmla="*/ 382810 w 385594"/>
                <a:gd name="csY2" fmla="*/ 189998 h 384682"/>
                <a:gd name="csX3" fmla="*/ 239373 w 385594"/>
                <a:gd name="csY3" fmla="*/ 168566 h 384682"/>
                <a:gd name="csX4" fmla="*/ 217941 w 385594"/>
                <a:gd name="csY4" fmla="*/ 147133 h 384682"/>
                <a:gd name="csX5" fmla="*/ 195599 w 385594"/>
                <a:gd name="csY5" fmla="*/ 2784 h 384682"/>
                <a:gd name="csX6" fmla="*/ 189086 w 385594"/>
                <a:gd name="csY6" fmla="*/ 2784 h 384682"/>
                <a:gd name="csX7" fmla="*/ 167653 w 385594"/>
                <a:gd name="csY7" fmla="*/ 146221 h 384682"/>
                <a:gd name="csX8" fmla="*/ 146220 w 385594"/>
                <a:gd name="csY8" fmla="*/ 167653 h 384682"/>
                <a:gd name="csX9" fmla="*/ 2784 w 385594"/>
                <a:gd name="csY9" fmla="*/ 189085 h 384682"/>
                <a:gd name="csX10" fmla="*/ 2784 w 385594"/>
                <a:gd name="csY10" fmla="*/ 195599 h 384682"/>
                <a:gd name="csX11" fmla="*/ 146220 w 385594"/>
                <a:gd name="csY11" fmla="*/ 217032 h 384682"/>
                <a:gd name="csX12" fmla="*/ 167653 w 385594"/>
                <a:gd name="csY12" fmla="*/ 238464 h 384682"/>
                <a:gd name="csX13" fmla="*/ 189086 w 385594"/>
                <a:gd name="csY13" fmla="*/ 381900 h 384682"/>
                <a:gd name="csX14" fmla="*/ 195599 w 385594"/>
                <a:gd name="csY14" fmla="*/ 381900 h 384682"/>
                <a:gd name="csX15" fmla="*/ 217032 w 385594"/>
                <a:gd name="csY15" fmla="*/ 238464 h 384682"/>
                <a:gd name="csX16" fmla="*/ 239373 w 385594"/>
                <a:gd name="csY16" fmla="*/ 217941 h 384682"/>
                <a:gd name="csX17" fmla="*/ 239373 w 385594"/>
                <a:gd name="csY17" fmla="*/ 217944 h 38468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385594" h="384682">
                  <a:moveTo>
                    <a:pt x="239373" y="217945"/>
                  </a:moveTo>
                  <a:lnTo>
                    <a:pt x="382810" y="196512"/>
                  </a:lnTo>
                  <a:cubicBezTo>
                    <a:pt x="386522" y="195566"/>
                    <a:pt x="386522" y="189998"/>
                    <a:pt x="382810" y="189998"/>
                  </a:cubicBezTo>
                  <a:lnTo>
                    <a:pt x="239373" y="168566"/>
                  </a:lnTo>
                  <a:cubicBezTo>
                    <a:pt x="228202" y="166710"/>
                    <a:pt x="219796" y="158304"/>
                    <a:pt x="217941" y="147133"/>
                  </a:cubicBezTo>
                  <a:lnTo>
                    <a:pt x="195599" y="2784"/>
                  </a:lnTo>
                  <a:cubicBezTo>
                    <a:pt x="194653" y="-928"/>
                    <a:pt x="189086" y="-928"/>
                    <a:pt x="189086" y="2784"/>
                  </a:cubicBezTo>
                  <a:lnTo>
                    <a:pt x="167653" y="146221"/>
                  </a:lnTo>
                  <a:cubicBezTo>
                    <a:pt x="165797" y="157391"/>
                    <a:pt x="157391" y="165797"/>
                    <a:pt x="146220" y="167653"/>
                  </a:cubicBezTo>
                  <a:lnTo>
                    <a:pt x="2784" y="189085"/>
                  </a:lnTo>
                  <a:cubicBezTo>
                    <a:pt x="-928" y="190031"/>
                    <a:pt x="-928" y="195599"/>
                    <a:pt x="2784" y="195599"/>
                  </a:cubicBezTo>
                  <a:lnTo>
                    <a:pt x="146220" y="217032"/>
                  </a:lnTo>
                  <a:cubicBezTo>
                    <a:pt x="157391" y="218887"/>
                    <a:pt x="165798" y="227293"/>
                    <a:pt x="167653" y="238464"/>
                  </a:cubicBezTo>
                  <a:lnTo>
                    <a:pt x="189086" y="381900"/>
                  </a:lnTo>
                  <a:cubicBezTo>
                    <a:pt x="190032" y="385610"/>
                    <a:pt x="195599" y="385610"/>
                    <a:pt x="195599" y="381900"/>
                  </a:cubicBezTo>
                  <a:lnTo>
                    <a:pt x="217032" y="238464"/>
                  </a:lnTo>
                  <a:cubicBezTo>
                    <a:pt x="218887" y="228203"/>
                    <a:pt x="228202" y="219833"/>
                    <a:pt x="239373" y="217941"/>
                  </a:cubicBezTo>
                  <a:lnTo>
                    <a:pt x="239373" y="217944"/>
                  </a:lnTo>
                  <a:close/>
                </a:path>
              </a:pathLst>
            </a:custGeom>
            <a:solidFill>
              <a:schemeClr val="accent3"/>
            </a:solidFill>
            <a:ln w="45085" cap="sq">
              <a:solidFill>
                <a:schemeClr val="accent3"/>
              </a:solidFill>
              <a:prstDash val="solid"/>
              <a:round/>
            </a:ln>
          </p:spPr>
          <p:txBody>
            <a:bodyPr/>
            <a:lstStyle/>
            <a:p>
              <a:endParaRPr lang="en-US"/>
            </a:p>
          </p:txBody>
        </p:sp>
      </p:grpSp>
      <p:grpSp>
        <p:nvGrpSpPr>
          <p:cNvPr id="54" name="Group 53">
            <a:extLst>
              <a:ext uri="{FF2B5EF4-FFF2-40B4-BE49-F238E27FC236}">
                <a16:creationId xmlns:a16="http://schemas.microsoft.com/office/drawing/2014/main" id="{8AE64D2E-24B8-F25E-E007-6D13FB0C9709}"/>
              </a:ext>
            </a:extLst>
          </p:cNvPr>
          <p:cNvGrpSpPr/>
          <p:nvPr/>
        </p:nvGrpSpPr>
        <p:grpSpPr>
          <a:xfrm>
            <a:off x="7224961" y="4568143"/>
            <a:ext cx="598521" cy="556435"/>
            <a:chOff x="7224961" y="4060143"/>
            <a:chExt cx="598521" cy="556435"/>
          </a:xfrm>
        </p:grpSpPr>
        <p:sp>
          <p:nvSpPr>
            <p:cNvPr id="48" name="Freeform: Shape 47">
              <a:extLst>
                <a:ext uri="{FF2B5EF4-FFF2-40B4-BE49-F238E27FC236}">
                  <a16:creationId xmlns:a16="http://schemas.microsoft.com/office/drawing/2014/main" id="{81101FE2-80BD-415A-96CF-9BA145A0F12F}"/>
                </a:ext>
              </a:extLst>
            </p:cNvPr>
            <p:cNvSpPr/>
            <p:nvPr/>
          </p:nvSpPr>
          <p:spPr>
            <a:xfrm>
              <a:off x="7278726" y="4115243"/>
              <a:ext cx="493673" cy="440736"/>
            </a:xfrm>
            <a:custGeom>
              <a:avLst/>
              <a:gdLst>
                <a:gd name="csX0" fmla="*/ 313925 w 493673"/>
                <a:gd name="csY0" fmla="*/ 161729 h 440736"/>
                <a:gd name="csX1" fmla="*/ 199498 w 493673"/>
                <a:gd name="csY1" fmla="*/ 440736 h 440736"/>
                <a:gd name="csX2" fmla="*/ 0 w 493673"/>
                <a:gd name="csY2" fmla="*/ 143000 h 440736"/>
                <a:gd name="csX3" fmla="*/ 382705 w 493673"/>
                <a:gd name="csY3" fmla="*/ 0 h 440736"/>
                <a:gd name="csX4" fmla="*/ 493674 w 493673"/>
                <a:gd name="csY4" fmla="*/ 314511 h 440736"/>
                <a:gd name="csX5" fmla="*/ 372078 w 493673"/>
                <a:gd name="csY5" fmla="*/ 405015 h 440736"/>
              </a:gdLst>
              <a:ahLst/>
              <a:cxnLst>
                <a:cxn ang="0">
                  <a:pos x="csX0" y="csY0"/>
                </a:cxn>
                <a:cxn ang="0">
                  <a:pos x="csX1" y="csY1"/>
                </a:cxn>
                <a:cxn ang="0">
                  <a:pos x="csX2" y="csY2"/>
                </a:cxn>
                <a:cxn ang="0">
                  <a:pos x="csX3" y="csY3"/>
                </a:cxn>
                <a:cxn ang="0">
                  <a:pos x="csX4" y="csY4"/>
                </a:cxn>
                <a:cxn ang="0">
                  <a:pos x="csX5" y="csY5"/>
                </a:cxn>
              </a:cxnLst>
              <a:rect l="l" t="t" r="r" b="b"/>
              <a:pathLst>
                <a:path w="493673" h="440736">
                  <a:moveTo>
                    <a:pt x="313925" y="161729"/>
                  </a:moveTo>
                  <a:lnTo>
                    <a:pt x="199498" y="440736"/>
                  </a:lnTo>
                  <a:lnTo>
                    <a:pt x="0" y="143000"/>
                  </a:lnTo>
                  <a:lnTo>
                    <a:pt x="382705" y="0"/>
                  </a:lnTo>
                  <a:lnTo>
                    <a:pt x="493674" y="314511"/>
                  </a:lnTo>
                  <a:lnTo>
                    <a:pt x="372078" y="405015"/>
                  </a:lnTo>
                </a:path>
              </a:pathLst>
            </a:custGeom>
            <a:noFill/>
            <a:ln w="52070" cap="flat">
              <a:solidFill>
                <a:srgbClr val="B8CBDE"/>
              </a:solidFill>
              <a:prstDash val="solid"/>
              <a:round/>
            </a:ln>
          </p:spPr>
          <p:txBody>
            <a:bodyPr/>
            <a:lstStyle/>
            <a:p>
              <a:endParaRPr lang="en-US"/>
            </a:p>
          </p:txBody>
        </p:sp>
        <p:sp>
          <p:nvSpPr>
            <p:cNvPr id="49" name="Oval 48">
              <a:extLst>
                <a:ext uri="{FF2B5EF4-FFF2-40B4-BE49-F238E27FC236}">
                  <a16:creationId xmlns:a16="http://schemas.microsoft.com/office/drawing/2014/main" id="{1754DFDF-6BB9-B92F-B442-7DE2B17D5246}"/>
                </a:ext>
              </a:extLst>
            </p:cNvPr>
            <p:cNvSpPr/>
            <p:nvPr/>
          </p:nvSpPr>
          <p:spPr>
            <a:xfrm>
              <a:off x="7224961" y="4196481"/>
              <a:ext cx="123523" cy="123523"/>
            </a:xfrm>
            <a:prstGeom prst="ellipse">
              <a:avLst/>
            </a:prstGeom>
            <a:solidFill>
              <a:srgbClr val="FFFFFF"/>
            </a:solidFill>
            <a:ln w="46863" cap="flat">
              <a:solidFill>
                <a:schemeClr val="accent3"/>
              </a:solidFill>
              <a:prstDash val="solid"/>
              <a:round/>
            </a:ln>
          </p:spPr>
          <p:txBody>
            <a:bodyPr/>
            <a:lstStyle/>
            <a:p>
              <a:endParaRPr lang="en-US"/>
            </a:p>
          </p:txBody>
        </p:sp>
        <p:sp>
          <p:nvSpPr>
            <p:cNvPr id="50" name="Oval 49">
              <a:extLst>
                <a:ext uri="{FF2B5EF4-FFF2-40B4-BE49-F238E27FC236}">
                  <a16:creationId xmlns:a16="http://schemas.microsoft.com/office/drawing/2014/main" id="{16CAFA28-C9C3-2D5A-2D16-55E41F001D95}"/>
                </a:ext>
              </a:extLst>
            </p:cNvPr>
            <p:cNvSpPr/>
            <p:nvPr/>
          </p:nvSpPr>
          <p:spPr>
            <a:xfrm>
              <a:off x="7703026" y="4369526"/>
              <a:ext cx="120456" cy="120456"/>
            </a:xfrm>
            <a:prstGeom prst="ellipse">
              <a:avLst/>
            </a:prstGeom>
            <a:solidFill>
              <a:srgbClr val="FFFFFF"/>
            </a:solidFill>
            <a:ln w="46863" cap="flat">
              <a:solidFill>
                <a:schemeClr val="accent3"/>
              </a:solidFill>
              <a:prstDash val="solid"/>
              <a:round/>
            </a:ln>
          </p:spPr>
          <p:txBody>
            <a:bodyPr/>
            <a:lstStyle/>
            <a:p>
              <a:endParaRPr lang="en-US"/>
            </a:p>
          </p:txBody>
        </p:sp>
        <p:sp>
          <p:nvSpPr>
            <p:cNvPr id="51" name="Oval 50">
              <a:extLst>
                <a:ext uri="{FF2B5EF4-FFF2-40B4-BE49-F238E27FC236}">
                  <a16:creationId xmlns:a16="http://schemas.microsoft.com/office/drawing/2014/main" id="{C02B3A99-C450-9A3E-9DFB-9D3DE71E6C44}"/>
                </a:ext>
              </a:extLst>
            </p:cNvPr>
            <p:cNvSpPr/>
            <p:nvPr/>
          </p:nvSpPr>
          <p:spPr>
            <a:xfrm>
              <a:off x="7613797" y="4060143"/>
              <a:ext cx="110200" cy="110200"/>
            </a:xfrm>
            <a:prstGeom prst="ellipse">
              <a:avLst/>
            </a:prstGeom>
            <a:solidFill>
              <a:srgbClr val="FFFFFF"/>
            </a:solidFill>
            <a:ln w="46863" cap="flat">
              <a:solidFill>
                <a:schemeClr val="accent3"/>
              </a:solidFill>
              <a:prstDash val="solid"/>
              <a:round/>
            </a:ln>
          </p:spPr>
          <p:txBody>
            <a:bodyPr/>
            <a:lstStyle/>
            <a:p>
              <a:endParaRPr lang="en-US"/>
            </a:p>
          </p:txBody>
        </p:sp>
        <p:sp>
          <p:nvSpPr>
            <p:cNvPr id="52" name="Oval 51">
              <a:extLst>
                <a:ext uri="{FF2B5EF4-FFF2-40B4-BE49-F238E27FC236}">
                  <a16:creationId xmlns:a16="http://schemas.microsoft.com/office/drawing/2014/main" id="{09652249-6851-BA29-8103-CE632FB071DE}"/>
                </a:ext>
              </a:extLst>
            </p:cNvPr>
            <p:cNvSpPr/>
            <p:nvPr/>
          </p:nvSpPr>
          <p:spPr>
            <a:xfrm>
              <a:off x="7417623" y="4495378"/>
              <a:ext cx="121200" cy="121200"/>
            </a:xfrm>
            <a:prstGeom prst="ellipse">
              <a:avLst/>
            </a:prstGeom>
            <a:solidFill>
              <a:srgbClr val="FFFFFF"/>
            </a:solidFill>
            <a:ln w="46863" cap="flat">
              <a:solidFill>
                <a:schemeClr val="accent3"/>
              </a:solidFill>
              <a:prstDash val="solid"/>
              <a:round/>
            </a:ln>
          </p:spPr>
          <p:txBody>
            <a:bodyPr/>
            <a:lstStyle/>
            <a:p>
              <a:endParaRPr lang="en-US"/>
            </a:p>
          </p:txBody>
        </p:sp>
        <p:sp>
          <p:nvSpPr>
            <p:cNvPr id="53" name="Freeform: Shape 52">
              <a:extLst>
                <a:ext uri="{FF2B5EF4-FFF2-40B4-BE49-F238E27FC236}">
                  <a16:creationId xmlns:a16="http://schemas.microsoft.com/office/drawing/2014/main" id="{2ACE23F3-C920-C391-FAF4-D51AEE2080F4}"/>
                </a:ext>
              </a:extLst>
            </p:cNvPr>
            <p:cNvSpPr/>
            <p:nvPr/>
          </p:nvSpPr>
          <p:spPr>
            <a:xfrm>
              <a:off x="7517697" y="4258243"/>
              <a:ext cx="116346" cy="80651"/>
            </a:xfrm>
            <a:custGeom>
              <a:avLst/>
              <a:gdLst>
                <a:gd name="csX0" fmla="*/ 0 w 116346"/>
                <a:gd name="csY0" fmla="*/ 35974 h 80651"/>
                <a:gd name="csX1" fmla="*/ 80145 w 116346"/>
                <a:gd name="csY1" fmla="*/ 0 h 80651"/>
                <a:gd name="csX2" fmla="*/ 116346 w 116346"/>
                <a:gd name="csY2" fmla="*/ 80651 h 80651"/>
              </a:gdLst>
              <a:ahLst/>
              <a:cxnLst>
                <a:cxn ang="0">
                  <a:pos x="csX0" y="csY0"/>
                </a:cxn>
                <a:cxn ang="0">
                  <a:pos x="csX1" y="csY1"/>
                </a:cxn>
                <a:cxn ang="0">
                  <a:pos x="csX2" y="csY2"/>
                </a:cxn>
              </a:cxnLst>
              <a:rect l="l" t="t" r="r" b="b"/>
              <a:pathLst>
                <a:path w="116346" h="80651">
                  <a:moveTo>
                    <a:pt x="0" y="35974"/>
                  </a:moveTo>
                  <a:lnTo>
                    <a:pt x="80145" y="0"/>
                  </a:lnTo>
                  <a:lnTo>
                    <a:pt x="116346" y="80651"/>
                  </a:lnTo>
                </a:path>
              </a:pathLst>
            </a:custGeom>
            <a:noFill/>
            <a:ln w="52070" cap="sq">
              <a:solidFill>
                <a:schemeClr val="accent1"/>
              </a:solidFill>
              <a:prstDash val="solid"/>
              <a:round/>
            </a:ln>
          </p:spPr>
          <p:txBody>
            <a:bodyPr/>
            <a:lstStyle/>
            <a:p>
              <a:endParaRPr lang="en-US"/>
            </a:p>
          </p:txBody>
        </p:sp>
      </p:grpSp>
      <p:sp>
        <p:nvSpPr>
          <p:cNvPr id="2" name="Tijdelijke aanduiding voor tekst 5">
            <a:extLst>
              <a:ext uri="{FF2B5EF4-FFF2-40B4-BE49-F238E27FC236}">
                <a16:creationId xmlns:a16="http://schemas.microsoft.com/office/drawing/2014/main" id="{BCDB05FB-6495-D5AC-386B-2B5DB0E131B1}"/>
              </a:ext>
            </a:extLst>
          </p:cNvPr>
          <p:cNvSpPr txBox="1"/>
          <p:nvPr/>
        </p:nvSpPr>
        <p:spPr>
          <a:xfrm>
            <a:off x="8191173" y="2915507"/>
            <a:ext cx="3304577" cy="664797"/>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US">
                <a:solidFill>
                  <a:schemeClr val="tx1"/>
                </a:solidFill>
              </a:rPr>
              <a:t>Require making morally sensitive decisions</a:t>
            </a:r>
            <a:endParaRPr lang="en-GB" sz="2000">
              <a:solidFill>
                <a:schemeClr val="tx1"/>
              </a:solidFill>
            </a:endParaRPr>
          </a:p>
        </p:txBody>
      </p:sp>
      <p:grpSp>
        <p:nvGrpSpPr>
          <p:cNvPr id="20" name="Group 19">
            <a:extLst>
              <a:ext uri="{FF2B5EF4-FFF2-40B4-BE49-F238E27FC236}">
                <a16:creationId xmlns:a16="http://schemas.microsoft.com/office/drawing/2014/main" id="{5B5AAE7E-5D4D-6803-9150-888CE51417F8}"/>
              </a:ext>
            </a:extLst>
          </p:cNvPr>
          <p:cNvGrpSpPr/>
          <p:nvPr/>
        </p:nvGrpSpPr>
        <p:grpSpPr>
          <a:xfrm>
            <a:off x="7224961" y="2882441"/>
            <a:ext cx="678969" cy="500106"/>
            <a:chOff x="7252335" y="2658581"/>
            <a:chExt cx="644995" cy="475082"/>
          </a:xfrm>
        </p:grpSpPr>
        <p:sp>
          <p:nvSpPr>
            <p:cNvPr id="12" name="Freeform: Shape 11">
              <a:extLst>
                <a:ext uri="{FF2B5EF4-FFF2-40B4-BE49-F238E27FC236}">
                  <a16:creationId xmlns:a16="http://schemas.microsoft.com/office/drawing/2014/main" id="{CC374600-7C41-9FAD-FE28-7E08F06FD164}"/>
                </a:ext>
              </a:extLst>
            </p:cNvPr>
            <p:cNvSpPr/>
            <p:nvPr/>
          </p:nvSpPr>
          <p:spPr>
            <a:xfrm>
              <a:off x="7277799" y="2940151"/>
              <a:ext cx="619531" cy="6418"/>
            </a:xfrm>
            <a:custGeom>
              <a:avLst/>
              <a:gdLst>
                <a:gd name="csX0" fmla="*/ 0 w 619531"/>
                <a:gd name="csY0" fmla="*/ 0 h 6418"/>
                <a:gd name="csX1" fmla="*/ 619531 w 619531"/>
                <a:gd name="csY1" fmla="*/ 0 h 6418"/>
              </a:gdLst>
              <a:ahLst/>
              <a:cxnLst>
                <a:cxn ang="0">
                  <a:pos x="csX0" y="csY0"/>
                </a:cxn>
                <a:cxn ang="0">
                  <a:pos x="csX1" y="csY1"/>
                </a:cxn>
              </a:cxnLst>
              <a:rect l="l" t="t" r="r" b="b"/>
              <a:pathLst>
                <a:path w="619531" h="6418">
                  <a:moveTo>
                    <a:pt x="0" y="0"/>
                  </a:moveTo>
                  <a:lnTo>
                    <a:pt x="619531" y="0"/>
                  </a:lnTo>
                </a:path>
              </a:pathLst>
            </a:custGeom>
            <a:ln w="64135" cap="sq">
              <a:solidFill>
                <a:srgbClr val="B8CBDE"/>
              </a:solidFill>
              <a:prstDash val="solid"/>
              <a:round/>
            </a:ln>
          </p:spPr>
          <p:txBody>
            <a:bodyPr/>
            <a:lstStyle/>
            <a:p>
              <a:endParaRPr lang="en-US"/>
            </a:p>
          </p:txBody>
        </p:sp>
        <p:sp>
          <p:nvSpPr>
            <p:cNvPr id="14" name="Freeform: Shape 13">
              <a:extLst>
                <a:ext uri="{FF2B5EF4-FFF2-40B4-BE49-F238E27FC236}">
                  <a16:creationId xmlns:a16="http://schemas.microsoft.com/office/drawing/2014/main" id="{F8025AA7-98C2-A7F6-CCD0-05DFFE50277B}"/>
                </a:ext>
              </a:extLst>
            </p:cNvPr>
            <p:cNvSpPr/>
            <p:nvPr/>
          </p:nvSpPr>
          <p:spPr>
            <a:xfrm>
              <a:off x="7252335" y="2837110"/>
              <a:ext cx="93960" cy="189504"/>
            </a:xfrm>
            <a:custGeom>
              <a:avLst/>
              <a:gdLst>
                <a:gd name="csX0" fmla="*/ 93371 w 93960"/>
                <a:gd name="csY0" fmla="*/ 0 h 189504"/>
                <a:gd name="csX1" fmla="*/ 0 w 93960"/>
                <a:gd name="csY1" fmla="*/ 94454 h 189504"/>
                <a:gd name="csX2" fmla="*/ 93960 w 93960"/>
                <a:gd name="csY2" fmla="*/ 189505 h 189504"/>
              </a:gdLst>
              <a:ahLst/>
              <a:cxnLst>
                <a:cxn ang="0">
                  <a:pos x="csX0" y="csY0"/>
                </a:cxn>
                <a:cxn ang="0">
                  <a:pos x="csX1" y="csY1"/>
                </a:cxn>
                <a:cxn ang="0">
                  <a:pos x="csX2" y="csY2"/>
                </a:cxn>
              </a:cxnLst>
              <a:rect l="l" t="t" r="r" b="b"/>
              <a:pathLst>
                <a:path w="93960" h="189504">
                  <a:moveTo>
                    <a:pt x="93371" y="0"/>
                  </a:moveTo>
                  <a:lnTo>
                    <a:pt x="0" y="94454"/>
                  </a:lnTo>
                  <a:lnTo>
                    <a:pt x="93960" y="189505"/>
                  </a:lnTo>
                </a:path>
              </a:pathLst>
            </a:custGeom>
            <a:noFill/>
            <a:ln w="64135" cap="sq">
              <a:solidFill>
                <a:srgbClr val="B8CBDE"/>
              </a:solidFill>
              <a:prstDash val="solid"/>
              <a:round/>
            </a:ln>
          </p:spPr>
          <p:txBody>
            <a:bodyPr/>
            <a:lstStyle/>
            <a:p>
              <a:endParaRPr lang="en-US"/>
            </a:p>
          </p:txBody>
        </p:sp>
        <p:sp>
          <p:nvSpPr>
            <p:cNvPr id="15" name="Freeform: Shape 14">
              <a:extLst>
                <a:ext uri="{FF2B5EF4-FFF2-40B4-BE49-F238E27FC236}">
                  <a16:creationId xmlns:a16="http://schemas.microsoft.com/office/drawing/2014/main" id="{DA521F84-4129-8E62-3BBC-00A13E41E1D8}"/>
                </a:ext>
              </a:extLst>
            </p:cNvPr>
            <p:cNvSpPr/>
            <p:nvPr/>
          </p:nvSpPr>
          <p:spPr>
            <a:xfrm>
              <a:off x="7344036" y="2754736"/>
              <a:ext cx="484662" cy="378927"/>
            </a:xfrm>
            <a:custGeom>
              <a:avLst/>
              <a:gdLst>
                <a:gd name="csX0" fmla="*/ 0 w 484662"/>
                <a:gd name="csY0" fmla="*/ 378927 h 378927"/>
                <a:gd name="csX1" fmla="*/ 227053 w 484662"/>
                <a:gd name="csY1" fmla="*/ 377861 h 378927"/>
                <a:gd name="csX2" fmla="*/ 227053 w 484662"/>
                <a:gd name="csY2" fmla="*/ 0 h 378927"/>
                <a:gd name="csX3" fmla="*/ 484663 w 484662"/>
                <a:gd name="csY3" fmla="*/ 0 h 378927"/>
              </a:gdLst>
              <a:ahLst/>
              <a:cxnLst>
                <a:cxn ang="0">
                  <a:pos x="csX0" y="csY0"/>
                </a:cxn>
                <a:cxn ang="0">
                  <a:pos x="csX1" y="csY1"/>
                </a:cxn>
                <a:cxn ang="0">
                  <a:pos x="csX2" y="csY2"/>
                </a:cxn>
                <a:cxn ang="0">
                  <a:pos x="csX3" y="csY3"/>
                </a:cxn>
              </a:cxnLst>
              <a:rect l="l" t="t" r="r" b="b"/>
              <a:pathLst>
                <a:path w="484662" h="378927">
                  <a:moveTo>
                    <a:pt x="0" y="378927"/>
                  </a:moveTo>
                  <a:lnTo>
                    <a:pt x="227053" y="377861"/>
                  </a:lnTo>
                  <a:lnTo>
                    <a:pt x="227053" y="0"/>
                  </a:lnTo>
                  <a:lnTo>
                    <a:pt x="484663" y="0"/>
                  </a:lnTo>
                </a:path>
              </a:pathLst>
            </a:custGeom>
            <a:noFill/>
            <a:ln w="64135" cap="sq">
              <a:solidFill>
                <a:schemeClr val="accent3"/>
              </a:solidFill>
              <a:prstDash val="solid"/>
              <a:round/>
            </a:ln>
          </p:spPr>
          <p:txBody>
            <a:bodyPr/>
            <a:lstStyle/>
            <a:p>
              <a:endParaRPr lang="en-US"/>
            </a:p>
          </p:txBody>
        </p:sp>
        <p:sp>
          <p:nvSpPr>
            <p:cNvPr id="16" name="Freeform: Shape 15">
              <a:extLst>
                <a:ext uri="{FF2B5EF4-FFF2-40B4-BE49-F238E27FC236}">
                  <a16:creationId xmlns:a16="http://schemas.microsoft.com/office/drawing/2014/main" id="{FBB96847-DA0D-2E90-08D4-B94E5F75408D}"/>
                </a:ext>
              </a:extLst>
            </p:cNvPr>
            <p:cNvSpPr/>
            <p:nvPr/>
          </p:nvSpPr>
          <p:spPr>
            <a:xfrm>
              <a:off x="7779643" y="2658581"/>
              <a:ext cx="93960" cy="189504"/>
            </a:xfrm>
            <a:custGeom>
              <a:avLst/>
              <a:gdLst>
                <a:gd name="csX0" fmla="*/ 589 w 93960"/>
                <a:gd name="csY0" fmla="*/ 0 h 189504"/>
                <a:gd name="csX1" fmla="*/ 93960 w 93960"/>
                <a:gd name="csY1" fmla="*/ 94454 h 189504"/>
                <a:gd name="csX2" fmla="*/ 0 w 93960"/>
                <a:gd name="csY2" fmla="*/ 189505 h 189504"/>
              </a:gdLst>
              <a:ahLst/>
              <a:cxnLst>
                <a:cxn ang="0">
                  <a:pos x="csX0" y="csY0"/>
                </a:cxn>
                <a:cxn ang="0">
                  <a:pos x="csX1" y="csY1"/>
                </a:cxn>
                <a:cxn ang="0">
                  <a:pos x="csX2" y="csY2"/>
                </a:cxn>
              </a:cxnLst>
              <a:rect l="l" t="t" r="r" b="b"/>
              <a:pathLst>
                <a:path w="93960" h="189504">
                  <a:moveTo>
                    <a:pt x="589" y="0"/>
                  </a:moveTo>
                  <a:lnTo>
                    <a:pt x="93960" y="94454"/>
                  </a:lnTo>
                  <a:lnTo>
                    <a:pt x="0" y="189505"/>
                  </a:lnTo>
                </a:path>
              </a:pathLst>
            </a:custGeom>
            <a:noFill/>
            <a:ln w="64135" cap="sq">
              <a:solidFill>
                <a:schemeClr val="accent3"/>
              </a:solidFill>
              <a:prstDash val="solid"/>
              <a:round/>
            </a:ln>
          </p:spPr>
          <p:txBody>
            <a:bodyPr/>
            <a:lstStyle/>
            <a:p>
              <a:endParaRPr lang="en-US"/>
            </a:p>
          </p:txBody>
        </p:sp>
      </p:grpSp>
    </p:spTree>
    <p:custDataLst>
      <p:tags r:id="rId1"/>
    </p:custDataLst>
    <p:extLst>
      <p:ext uri="{BB962C8B-B14F-4D97-AF65-F5344CB8AC3E}">
        <p14:creationId xmlns:p14="http://schemas.microsoft.com/office/powerpoint/2010/main" val="258170138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0">
                                            <p:txEl>
                                              <p:pRg st="0" end="0"/>
                                            </p:txEl>
                                          </p:spTgt>
                                        </p:tgtEl>
                                        <p:attrNameLst>
                                          <p:attrName>style.visibility</p:attrName>
                                        </p:attrNameLst>
                                      </p:cBhvr>
                                      <p:to>
                                        <p:strVal val="visible"/>
                                      </p:to>
                                    </p:set>
                                    <p:animEffect transition="in" filter="fade">
                                      <p:cBhvr>
                                        <p:cTn id="10" dur="500"/>
                                        <p:tgtEl>
                                          <p:spTgt spid="10">
                                            <p:txEl>
                                              <p:pRg st="0" end="0"/>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17">
                                            <p:txEl>
                                              <p:pRg st="0" end="0"/>
                                            </p:txEl>
                                          </p:spTgt>
                                        </p:tgtEl>
                                        <p:attrNameLst>
                                          <p:attrName>style.visibility</p:attrName>
                                        </p:attrNameLst>
                                      </p:cBhvr>
                                      <p:to>
                                        <p:strVal val="visible"/>
                                      </p:to>
                                    </p:set>
                                    <p:animEffect transition="in" filter="fade">
                                      <p:cBhvr>
                                        <p:cTn id="13" dur="500"/>
                                        <p:tgtEl>
                                          <p:spTgt spid="17">
                                            <p:txEl>
                                              <p:pRg st="0" end="0"/>
                                            </p:txEl>
                                          </p:spTgt>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18">
                                            <p:txEl>
                                              <p:pRg st="0" end="0"/>
                                            </p:txEl>
                                          </p:spTgt>
                                        </p:tgtEl>
                                        <p:attrNameLst>
                                          <p:attrName>style.visibility</p:attrName>
                                        </p:attrNameLst>
                                      </p:cBhvr>
                                      <p:to>
                                        <p:strVal val="visible"/>
                                      </p:to>
                                    </p:set>
                                    <p:animEffect transition="in" filter="fade">
                                      <p:cBhvr>
                                        <p:cTn id="16" dur="500"/>
                                        <p:tgtEl>
                                          <p:spTgt spid="18">
                                            <p:txEl>
                                              <p:pRg st="0" end="0"/>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39">
                                            <p:txEl>
                                              <p:pRg st="0" end="0"/>
                                            </p:txEl>
                                          </p:spTgt>
                                        </p:tgtEl>
                                        <p:attrNameLst>
                                          <p:attrName>style.visibility</p:attrName>
                                        </p:attrNameLst>
                                      </p:cBhvr>
                                      <p:to>
                                        <p:strVal val="visible"/>
                                      </p:to>
                                    </p:set>
                                    <p:animEffect transition="in" filter="fade">
                                      <p:cBhvr>
                                        <p:cTn id="19" dur="500"/>
                                        <p:tgtEl>
                                          <p:spTgt spid="39">
                                            <p:txEl>
                                              <p:pRg st="0" end="0"/>
                                            </p:txEl>
                                          </p:spTgt>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2">
                                            <p:txEl>
                                              <p:pRg st="0" end="0"/>
                                            </p:txEl>
                                          </p:spTgt>
                                        </p:tgtEl>
                                        <p:attrNameLst>
                                          <p:attrName>style.visibility</p:attrName>
                                        </p:attrNameLst>
                                      </p:cBhvr>
                                      <p:to>
                                        <p:strVal val="visible"/>
                                      </p:to>
                                    </p:set>
                                    <p:animEffect transition="in" filter="fade">
                                      <p:cBhvr>
                                        <p:cTn id="22"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10" grpId="0" build="p"/>
      <p:bldP spid="17" grpId="0" build="p"/>
      <p:bldP spid="18" grpId="0" build="p"/>
      <p:bldP spid="39" grpId="0" build="p"/>
      <p:bldP spid="2"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5AC567-9651-3566-45D7-FBA60D9845B4}"/>
            </a:ext>
          </a:extLst>
        </p:cNvPr>
        <p:cNvGrpSpPr/>
        <p:nvPr/>
      </p:nvGrpSpPr>
      <p:grpSpPr>
        <a:xfrm>
          <a:off x="0" y="0"/>
          <a:ext cx="0" cy="0"/>
          <a:chOff x="0" y="0"/>
          <a:chExt cx="0" cy="0"/>
        </a:xfrm>
      </p:grpSpPr>
      <p:grpSp>
        <p:nvGrpSpPr>
          <p:cNvPr id="30" name="!!VORM">
            <a:extLst>
              <a:ext uri="{FF2B5EF4-FFF2-40B4-BE49-F238E27FC236}">
                <a16:creationId xmlns:a16="http://schemas.microsoft.com/office/drawing/2014/main" id="{208A7E02-2B78-9A6D-A0B1-AA7B60E8EFAD}"/>
              </a:ext>
            </a:extLst>
          </p:cNvPr>
          <p:cNvGrpSpPr/>
          <p:nvPr/>
        </p:nvGrpSpPr>
        <p:grpSpPr>
          <a:xfrm>
            <a:off x="-2637331" y="0"/>
            <a:ext cx="8373762" cy="6858000"/>
            <a:chOff x="3818239" y="-1"/>
            <a:chExt cx="8373762" cy="6857999"/>
          </a:xfrm>
        </p:grpSpPr>
        <p:sp>
          <p:nvSpPr>
            <p:cNvPr id="19" name="Rechthoek 18">
              <a:extLst>
                <a:ext uri="{FF2B5EF4-FFF2-40B4-BE49-F238E27FC236}">
                  <a16:creationId xmlns:a16="http://schemas.microsoft.com/office/drawing/2014/main" id="{0806C7EA-C5C9-6907-210C-D18EF9C09DAB}"/>
                </a:ext>
              </a:extLst>
            </p:cNvPr>
            <p:cNvSpPr/>
            <p:nvPr/>
          </p:nvSpPr>
          <p:spPr>
            <a:xfrm>
              <a:off x="3818239" y="-1"/>
              <a:ext cx="8373761"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29" name="Vrije vorm 28">
              <a:extLst>
                <a:ext uri="{FF2B5EF4-FFF2-40B4-BE49-F238E27FC236}">
                  <a16:creationId xmlns:a16="http://schemas.microsoft.com/office/drawing/2014/main" id="{E9E2442A-653A-51EF-1E1A-1196B520ED86}"/>
                </a:ext>
              </a:extLst>
            </p:cNvPr>
            <p:cNvSpPr>
              <a:spLocks/>
            </p:cNvSpPr>
            <p:nvPr/>
          </p:nvSpPr>
          <p:spPr>
            <a:xfrm>
              <a:off x="3818240" y="-1"/>
              <a:ext cx="8373761"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err="1"/>
            </a:p>
          </p:txBody>
        </p:sp>
      </p:grpSp>
      <p:sp>
        <p:nvSpPr>
          <p:cNvPr id="13" name="Titel 12">
            <a:extLst>
              <a:ext uri="{FF2B5EF4-FFF2-40B4-BE49-F238E27FC236}">
                <a16:creationId xmlns:a16="http://schemas.microsoft.com/office/drawing/2014/main" id="{742FAEF2-F834-FB4C-6712-17610B4A52E6}"/>
              </a:ext>
            </a:extLst>
          </p:cNvPr>
          <p:cNvSpPr>
            <a:spLocks noGrp="1"/>
          </p:cNvSpPr>
          <p:nvPr>
            <p:ph type="title"/>
          </p:nvPr>
        </p:nvSpPr>
        <p:spPr/>
        <p:txBody>
          <a:bodyPr/>
          <a:lstStyle/>
          <a:p>
            <a:r>
              <a:rPr lang="en-GB"/>
              <a:t>Chapter | dark mode</a:t>
            </a:r>
          </a:p>
        </p:txBody>
      </p:sp>
      <p:sp>
        <p:nvSpPr>
          <p:cNvPr id="11" name="Tijdelijke aanduiding voor dianummer 10">
            <a:extLst>
              <a:ext uri="{FF2B5EF4-FFF2-40B4-BE49-F238E27FC236}">
                <a16:creationId xmlns:a16="http://schemas.microsoft.com/office/drawing/2014/main" id="{5DD03342-7D2E-D031-04F2-304A3FCAB32A}"/>
              </a:ext>
            </a:extLst>
          </p:cNvPr>
          <p:cNvSpPr>
            <a:spLocks noGrp="1"/>
          </p:cNvSpPr>
          <p:nvPr>
            <p:ph type="sldNum" sz="quarter" idx="12"/>
          </p:nvPr>
        </p:nvSpPr>
        <p:spPr/>
        <p:txBody>
          <a:bodyPr/>
          <a:lstStyle/>
          <a:p>
            <a:fld id="{9E843DB9-9987-4157-AB9C-CEA8D7D910BB}" type="slidenum">
              <a:rPr lang="en-GB" smtClean="0"/>
              <a:pPr/>
              <a:t>8</a:t>
            </a:fld>
            <a:endParaRPr lang="en-GB"/>
          </a:p>
        </p:txBody>
      </p:sp>
      <p:sp>
        <p:nvSpPr>
          <p:cNvPr id="3" name="Rechthoek 1">
            <a:extLst>
              <a:ext uri="{FF2B5EF4-FFF2-40B4-BE49-F238E27FC236}">
                <a16:creationId xmlns:a16="http://schemas.microsoft.com/office/drawing/2014/main" id="{5DFD18DF-B320-D1A4-352A-4A48B22F7EC3}"/>
              </a:ext>
            </a:extLst>
          </p:cNvPr>
          <p:cNvSpPr>
            <a:spLocks/>
          </p:cNvSpPr>
          <p:nvPr/>
        </p:nvSpPr>
        <p:spPr>
          <a:xfrm>
            <a:off x="719138" y="2249377"/>
            <a:ext cx="5609281" cy="29414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4" name="Tijdelijke aanduiding voor tekst 3">
            <a:extLst>
              <a:ext uri="{FF2B5EF4-FFF2-40B4-BE49-F238E27FC236}">
                <a16:creationId xmlns:a16="http://schemas.microsoft.com/office/drawing/2014/main" id="{4C5C482B-7804-E4F5-F901-D086D9A08A90}"/>
              </a:ext>
            </a:extLst>
          </p:cNvPr>
          <p:cNvSpPr txBox="1">
            <a:spLocks/>
          </p:cNvSpPr>
          <p:nvPr/>
        </p:nvSpPr>
        <p:spPr>
          <a:xfrm>
            <a:off x="1184679" y="2498732"/>
            <a:ext cx="5288703" cy="666849"/>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a:latin typeface="Arial" panose="020B0604020202020204" pitchFamily="34" charset="0"/>
                <a:cs typeface="Arial" panose="020B0604020202020204" pitchFamily="34" charset="0"/>
              </a:rPr>
              <a:t>Justice</a:t>
            </a:r>
          </a:p>
        </p:txBody>
      </p:sp>
      <p:sp>
        <p:nvSpPr>
          <p:cNvPr id="5" name="Tijdelijke aanduiding voor tekst 5">
            <a:extLst>
              <a:ext uri="{FF2B5EF4-FFF2-40B4-BE49-F238E27FC236}">
                <a16:creationId xmlns:a16="http://schemas.microsoft.com/office/drawing/2014/main" id="{CE2AF1DA-ACD6-E552-B674-39250E0B2E1E}"/>
              </a:ext>
            </a:extLst>
          </p:cNvPr>
          <p:cNvSpPr txBox="1">
            <a:spLocks/>
          </p:cNvSpPr>
          <p:nvPr/>
        </p:nvSpPr>
        <p:spPr>
          <a:xfrm>
            <a:off x="1184679" y="3436467"/>
            <a:ext cx="4107757" cy="1151084"/>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pPr marL="342900" indent="-342900">
              <a:buClr>
                <a:schemeClr val="bg1"/>
              </a:buClr>
              <a:buSzPct val="130000"/>
              <a:buFont typeface="Arial" panose="020B0604020202020204" pitchFamily="34" charset="0"/>
              <a:buChar char="•"/>
            </a:pPr>
            <a:r>
              <a:rPr lang="en-GB"/>
              <a:t>Same worth and dignity, same considerations</a:t>
            </a:r>
          </a:p>
          <a:p>
            <a:pPr marL="342900" indent="-342900">
              <a:buClr>
                <a:schemeClr val="bg1"/>
              </a:buClr>
              <a:buSzPct val="130000"/>
              <a:buFont typeface="Arial" panose="020B0604020202020204" pitchFamily="34" charset="0"/>
              <a:buChar char="•"/>
            </a:pPr>
            <a:r>
              <a:rPr lang="en-GB"/>
              <a:t>Sufficient level for all</a:t>
            </a:r>
          </a:p>
        </p:txBody>
      </p:sp>
      <p:sp>
        <p:nvSpPr>
          <p:cNvPr id="6" name="Tijdelijke aanduiding voor tekst 5">
            <a:extLst>
              <a:ext uri="{FF2B5EF4-FFF2-40B4-BE49-F238E27FC236}">
                <a16:creationId xmlns:a16="http://schemas.microsoft.com/office/drawing/2014/main" id="{A397D67A-9FF4-1883-CC18-1CC930A43741}"/>
              </a:ext>
            </a:extLst>
          </p:cNvPr>
          <p:cNvSpPr txBox="1"/>
          <p:nvPr/>
        </p:nvSpPr>
        <p:spPr>
          <a:xfrm>
            <a:off x="6745006" y="823228"/>
            <a:ext cx="3548417"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b="1">
                <a:solidFill>
                  <a:schemeClr val="tx1"/>
                </a:solidFill>
              </a:rPr>
              <a:t>Road Transport Systems:</a:t>
            </a:r>
          </a:p>
        </p:txBody>
      </p:sp>
      <p:sp>
        <p:nvSpPr>
          <p:cNvPr id="10" name="Tijdelijke aanduiding voor tekst 5">
            <a:extLst>
              <a:ext uri="{FF2B5EF4-FFF2-40B4-BE49-F238E27FC236}">
                <a16:creationId xmlns:a16="http://schemas.microsoft.com/office/drawing/2014/main" id="{DC8AD595-784E-C1EC-CAE3-3B947ADF378F}"/>
              </a:ext>
            </a:extLst>
          </p:cNvPr>
          <p:cNvSpPr txBox="1"/>
          <p:nvPr/>
        </p:nvSpPr>
        <p:spPr>
          <a:xfrm>
            <a:off x="6745006" y="3918178"/>
            <a:ext cx="3548417" cy="302181"/>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b="1">
                <a:solidFill>
                  <a:schemeClr val="tx1"/>
                </a:solidFill>
              </a:rPr>
              <a:t>AI Systems:</a:t>
            </a:r>
          </a:p>
        </p:txBody>
      </p:sp>
      <p:sp>
        <p:nvSpPr>
          <p:cNvPr id="2" name="Tijdelijke aanduiding voor tekst 5">
            <a:extLst>
              <a:ext uri="{FF2B5EF4-FFF2-40B4-BE49-F238E27FC236}">
                <a16:creationId xmlns:a16="http://schemas.microsoft.com/office/drawing/2014/main" id="{10CEE99B-52DA-C913-127C-00CC87A7D415}"/>
              </a:ext>
            </a:extLst>
          </p:cNvPr>
          <p:cNvSpPr txBox="1"/>
          <p:nvPr/>
        </p:nvSpPr>
        <p:spPr>
          <a:xfrm>
            <a:off x="8155902" y="4622827"/>
            <a:ext cx="3304577"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US">
                <a:solidFill>
                  <a:schemeClr val="tx1"/>
                </a:solidFill>
              </a:rPr>
              <a:t>Restricted to limitations</a:t>
            </a:r>
            <a:endParaRPr lang="en-GB">
              <a:solidFill>
                <a:schemeClr val="tx1"/>
              </a:solidFill>
            </a:endParaRPr>
          </a:p>
        </p:txBody>
      </p:sp>
      <p:sp>
        <p:nvSpPr>
          <p:cNvPr id="7" name="Tijdelijke aanduiding voor tekst 5">
            <a:extLst>
              <a:ext uri="{FF2B5EF4-FFF2-40B4-BE49-F238E27FC236}">
                <a16:creationId xmlns:a16="http://schemas.microsoft.com/office/drawing/2014/main" id="{E9FDE75E-6A18-43FF-8C7C-01B722A2AD93}"/>
              </a:ext>
            </a:extLst>
          </p:cNvPr>
          <p:cNvSpPr txBox="1"/>
          <p:nvPr/>
        </p:nvSpPr>
        <p:spPr>
          <a:xfrm>
            <a:off x="8155902" y="2503559"/>
            <a:ext cx="2943897" cy="997196"/>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a:solidFill>
                  <a:schemeClr val="tx1"/>
                </a:solidFill>
              </a:rPr>
              <a:t>Multi-variable context with a vast variety of combinations </a:t>
            </a:r>
          </a:p>
        </p:txBody>
      </p:sp>
      <p:grpSp>
        <p:nvGrpSpPr>
          <p:cNvPr id="21" name="Group 20">
            <a:extLst>
              <a:ext uri="{FF2B5EF4-FFF2-40B4-BE49-F238E27FC236}">
                <a16:creationId xmlns:a16="http://schemas.microsoft.com/office/drawing/2014/main" id="{746C1239-437D-1C01-A96E-07B7AD720050}"/>
              </a:ext>
            </a:extLst>
          </p:cNvPr>
          <p:cNvGrpSpPr/>
          <p:nvPr/>
        </p:nvGrpSpPr>
        <p:grpSpPr>
          <a:xfrm>
            <a:off x="7091856" y="2581817"/>
            <a:ext cx="558213" cy="696076"/>
            <a:chOff x="7091857" y="2692772"/>
            <a:chExt cx="558213" cy="696076"/>
          </a:xfrm>
        </p:grpSpPr>
        <p:sp>
          <p:nvSpPr>
            <p:cNvPr id="14" name="Freeform: Shape 13">
              <a:extLst>
                <a:ext uri="{FF2B5EF4-FFF2-40B4-BE49-F238E27FC236}">
                  <a16:creationId xmlns:a16="http://schemas.microsoft.com/office/drawing/2014/main" id="{9AD81C9C-1154-9E3A-AE9F-BD72F879CCD7}"/>
                </a:ext>
              </a:extLst>
            </p:cNvPr>
            <p:cNvSpPr/>
            <p:nvPr/>
          </p:nvSpPr>
          <p:spPr>
            <a:xfrm>
              <a:off x="7091857" y="2902838"/>
              <a:ext cx="216649" cy="96420"/>
            </a:xfrm>
            <a:custGeom>
              <a:avLst/>
              <a:gdLst>
                <a:gd name="csX0" fmla="*/ 0 w 216649"/>
                <a:gd name="csY0" fmla="*/ 0 h 96420"/>
                <a:gd name="csX1" fmla="*/ 216649 w 216649"/>
                <a:gd name="csY1" fmla="*/ 96421 h 96420"/>
              </a:gdLst>
              <a:ahLst/>
              <a:cxnLst>
                <a:cxn ang="0">
                  <a:pos x="csX0" y="csY0"/>
                </a:cxn>
                <a:cxn ang="0">
                  <a:pos x="csX1" y="csY1"/>
                </a:cxn>
              </a:cxnLst>
              <a:rect l="l" t="t" r="r" b="b"/>
              <a:pathLst>
                <a:path w="216649" h="96420">
                  <a:moveTo>
                    <a:pt x="0" y="0"/>
                  </a:moveTo>
                  <a:lnTo>
                    <a:pt x="216649" y="96421"/>
                  </a:lnTo>
                </a:path>
              </a:pathLst>
            </a:custGeom>
            <a:ln w="68580" cap="flat">
              <a:solidFill>
                <a:srgbClr val="B8CBDE"/>
              </a:solidFill>
              <a:prstDash val="solid"/>
              <a:round/>
            </a:ln>
          </p:spPr>
          <p:txBody>
            <a:bodyPr/>
            <a:lstStyle/>
            <a:p>
              <a:endParaRPr lang="en-US"/>
            </a:p>
          </p:txBody>
        </p:sp>
        <p:sp>
          <p:nvSpPr>
            <p:cNvPr id="15" name="Freeform: Shape 14">
              <a:extLst>
                <a:ext uri="{FF2B5EF4-FFF2-40B4-BE49-F238E27FC236}">
                  <a16:creationId xmlns:a16="http://schemas.microsoft.com/office/drawing/2014/main" id="{93F922E0-41E2-1930-E17F-348EED0B1661}"/>
                </a:ext>
              </a:extLst>
            </p:cNvPr>
            <p:cNvSpPr/>
            <p:nvPr/>
          </p:nvSpPr>
          <p:spPr>
            <a:xfrm>
              <a:off x="7232311" y="2900251"/>
              <a:ext cx="114596" cy="159152"/>
            </a:xfrm>
            <a:custGeom>
              <a:avLst/>
              <a:gdLst>
                <a:gd name="csX0" fmla="*/ 71425 w 114596"/>
                <a:gd name="csY0" fmla="*/ 0 h 159152"/>
                <a:gd name="csX1" fmla="*/ 114597 w 114596"/>
                <a:gd name="csY1" fmla="*/ 114383 h 159152"/>
                <a:gd name="csX2" fmla="*/ 0 w 114596"/>
                <a:gd name="csY2" fmla="*/ 159152 h 159152"/>
              </a:gdLst>
              <a:ahLst/>
              <a:cxnLst>
                <a:cxn ang="0">
                  <a:pos x="csX0" y="csY0"/>
                </a:cxn>
                <a:cxn ang="0">
                  <a:pos x="csX1" y="csY1"/>
                </a:cxn>
                <a:cxn ang="0">
                  <a:pos x="csX2" y="csY2"/>
                </a:cxn>
              </a:cxnLst>
              <a:rect l="l" t="t" r="r" b="b"/>
              <a:pathLst>
                <a:path w="114596" h="159152">
                  <a:moveTo>
                    <a:pt x="71425" y="0"/>
                  </a:moveTo>
                  <a:lnTo>
                    <a:pt x="114597" y="114383"/>
                  </a:lnTo>
                  <a:lnTo>
                    <a:pt x="0" y="159152"/>
                  </a:lnTo>
                </a:path>
              </a:pathLst>
            </a:custGeom>
            <a:noFill/>
            <a:ln w="68580" cap="sq">
              <a:solidFill>
                <a:srgbClr val="B8CBDE"/>
              </a:solidFill>
              <a:prstDash val="solid"/>
              <a:round/>
            </a:ln>
          </p:spPr>
          <p:txBody>
            <a:bodyPr/>
            <a:lstStyle/>
            <a:p>
              <a:endParaRPr lang="en-US"/>
            </a:p>
          </p:txBody>
        </p:sp>
        <p:sp>
          <p:nvSpPr>
            <p:cNvPr id="16" name="Freeform: Shape 15">
              <a:extLst>
                <a:ext uri="{FF2B5EF4-FFF2-40B4-BE49-F238E27FC236}">
                  <a16:creationId xmlns:a16="http://schemas.microsoft.com/office/drawing/2014/main" id="{D1ADCC70-5E65-AB56-14B4-C49D2DEE7DAC}"/>
                </a:ext>
              </a:extLst>
            </p:cNvPr>
            <p:cNvSpPr/>
            <p:nvPr/>
          </p:nvSpPr>
          <p:spPr>
            <a:xfrm>
              <a:off x="7500114" y="2692772"/>
              <a:ext cx="149956" cy="276248"/>
            </a:xfrm>
            <a:custGeom>
              <a:avLst/>
              <a:gdLst>
                <a:gd name="csX0" fmla="*/ 18598 w 149956"/>
                <a:gd name="csY0" fmla="*/ 0 h 276248"/>
                <a:gd name="csX1" fmla="*/ 149956 w 149956"/>
                <a:gd name="csY1" fmla="*/ 126292 h 276248"/>
                <a:gd name="csX2" fmla="*/ 0 w 149956"/>
                <a:gd name="csY2" fmla="*/ 276248 h 276248"/>
              </a:gdLst>
              <a:ahLst/>
              <a:cxnLst>
                <a:cxn ang="0">
                  <a:pos x="csX0" y="csY0"/>
                </a:cxn>
                <a:cxn ang="0">
                  <a:pos x="csX1" y="csY1"/>
                </a:cxn>
                <a:cxn ang="0">
                  <a:pos x="csX2" y="csY2"/>
                </a:cxn>
              </a:cxnLst>
              <a:rect l="l" t="t" r="r" b="b"/>
              <a:pathLst>
                <a:path w="149956" h="276248">
                  <a:moveTo>
                    <a:pt x="18598" y="0"/>
                  </a:moveTo>
                  <a:lnTo>
                    <a:pt x="149956" y="126292"/>
                  </a:lnTo>
                  <a:lnTo>
                    <a:pt x="0" y="276248"/>
                  </a:lnTo>
                </a:path>
              </a:pathLst>
            </a:custGeom>
            <a:noFill/>
            <a:ln w="68580" cap="flat">
              <a:solidFill>
                <a:schemeClr val="tx2"/>
              </a:solidFill>
              <a:prstDash val="solid"/>
              <a:round/>
            </a:ln>
          </p:spPr>
          <p:txBody>
            <a:bodyPr/>
            <a:lstStyle/>
            <a:p>
              <a:endParaRPr lang="en-US"/>
            </a:p>
          </p:txBody>
        </p:sp>
        <p:sp>
          <p:nvSpPr>
            <p:cNvPr id="17" name="Freeform: Shape 16">
              <a:extLst>
                <a:ext uri="{FF2B5EF4-FFF2-40B4-BE49-F238E27FC236}">
                  <a16:creationId xmlns:a16="http://schemas.microsoft.com/office/drawing/2014/main" id="{62C2A0D9-16C5-7985-AF44-FF28D87B2BB3}"/>
                </a:ext>
              </a:extLst>
            </p:cNvPr>
            <p:cNvSpPr/>
            <p:nvPr/>
          </p:nvSpPr>
          <p:spPr>
            <a:xfrm>
              <a:off x="7471283" y="2876327"/>
              <a:ext cx="122966" cy="123734"/>
            </a:xfrm>
            <a:custGeom>
              <a:avLst/>
              <a:gdLst>
                <a:gd name="csX0" fmla="*/ 122967 w 122966"/>
                <a:gd name="csY0" fmla="*/ 123734 h 123734"/>
                <a:gd name="csX1" fmla="*/ 710 w 122966"/>
                <a:gd name="csY1" fmla="*/ 123029 h 123734"/>
                <a:gd name="csX2" fmla="*/ 0 w 122966"/>
                <a:gd name="csY2" fmla="*/ 0 h 123734"/>
              </a:gdLst>
              <a:ahLst/>
              <a:cxnLst>
                <a:cxn ang="0">
                  <a:pos x="csX0" y="csY0"/>
                </a:cxn>
                <a:cxn ang="0">
                  <a:pos x="csX1" y="csY1"/>
                </a:cxn>
                <a:cxn ang="0">
                  <a:pos x="csX2" y="csY2"/>
                </a:cxn>
              </a:cxnLst>
              <a:rect l="l" t="t" r="r" b="b"/>
              <a:pathLst>
                <a:path w="122966" h="123734">
                  <a:moveTo>
                    <a:pt x="122967" y="123734"/>
                  </a:moveTo>
                  <a:lnTo>
                    <a:pt x="710" y="123029"/>
                  </a:lnTo>
                  <a:lnTo>
                    <a:pt x="0" y="0"/>
                  </a:lnTo>
                </a:path>
              </a:pathLst>
            </a:custGeom>
            <a:noFill/>
            <a:ln w="68580" cap="sq">
              <a:solidFill>
                <a:schemeClr val="tx2"/>
              </a:solidFill>
              <a:prstDash val="solid"/>
              <a:round/>
            </a:ln>
          </p:spPr>
          <p:txBody>
            <a:bodyPr/>
            <a:lstStyle/>
            <a:p>
              <a:endParaRPr lang="en-US"/>
            </a:p>
          </p:txBody>
        </p:sp>
        <p:sp>
          <p:nvSpPr>
            <p:cNvPr id="18" name="Freeform: Shape 17">
              <a:extLst>
                <a:ext uri="{FF2B5EF4-FFF2-40B4-BE49-F238E27FC236}">
                  <a16:creationId xmlns:a16="http://schemas.microsoft.com/office/drawing/2014/main" id="{C33ADDA8-A6B2-4860-73D3-71154F7AFECB}"/>
                </a:ext>
              </a:extLst>
            </p:cNvPr>
            <p:cNvSpPr/>
            <p:nvPr/>
          </p:nvSpPr>
          <p:spPr>
            <a:xfrm>
              <a:off x="7423349" y="3151711"/>
              <a:ext cx="213528" cy="237137"/>
            </a:xfrm>
            <a:custGeom>
              <a:avLst/>
              <a:gdLst>
                <a:gd name="csX0" fmla="*/ 213528 w 213528"/>
                <a:gd name="csY0" fmla="*/ 237137 h 237137"/>
                <a:gd name="csX1" fmla="*/ 0 w 213528"/>
                <a:gd name="csY1" fmla="*/ 237137 h 237137"/>
                <a:gd name="csX2" fmla="*/ 0 w 213528"/>
                <a:gd name="csY2" fmla="*/ 0 h 237137"/>
              </a:gdLst>
              <a:ahLst/>
              <a:cxnLst>
                <a:cxn ang="0">
                  <a:pos x="csX0" y="csY0"/>
                </a:cxn>
                <a:cxn ang="0">
                  <a:pos x="csX1" y="csY1"/>
                </a:cxn>
                <a:cxn ang="0">
                  <a:pos x="csX2" y="csY2"/>
                </a:cxn>
              </a:cxnLst>
              <a:rect l="l" t="t" r="r" b="b"/>
              <a:pathLst>
                <a:path w="213528" h="237137">
                  <a:moveTo>
                    <a:pt x="213528" y="237137"/>
                  </a:moveTo>
                  <a:lnTo>
                    <a:pt x="0" y="237137"/>
                  </a:lnTo>
                  <a:lnTo>
                    <a:pt x="0" y="0"/>
                  </a:lnTo>
                </a:path>
              </a:pathLst>
            </a:custGeom>
            <a:noFill/>
            <a:ln w="68580" cap="sq">
              <a:solidFill>
                <a:schemeClr val="accent2"/>
              </a:solidFill>
              <a:prstDash val="solid"/>
              <a:round/>
            </a:ln>
          </p:spPr>
          <p:txBody>
            <a:bodyPr/>
            <a:lstStyle/>
            <a:p>
              <a:endParaRPr lang="en-US"/>
            </a:p>
          </p:txBody>
        </p:sp>
        <p:sp>
          <p:nvSpPr>
            <p:cNvPr id="20" name="Freeform: Shape 19">
              <a:extLst>
                <a:ext uri="{FF2B5EF4-FFF2-40B4-BE49-F238E27FC236}">
                  <a16:creationId xmlns:a16="http://schemas.microsoft.com/office/drawing/2014/main" id="{3F36B819-2565-4813-22F8-EBBBB0022C42}"/>
                </a:ext>
              </a:extLst>
            </p:cNvPr>
            <p:cNvSpPr/>
            <p:nvPr/>
          </p:nvSpPr>
          <p:spPr>
            <a:xfrm>
              <a:off x="7334835" y="3110376"/>
              <a:ext cx="174443" cy="86492"/>
            </a:xfrm>
            <a:custGeom>
              <a:avLst/>
              <a:gdLst>
                <a:gd name="csX0" fmla="*/ 0 w 174443"/>
                <a:gd name="csY0" fmla="*/ 85950 h 86492"/>
                <a:gd name="csX1" fmla="*/ 86948 w 174443"/>
                <a:gd name="csY1" fmla="*/ 0 h 86492"/>
                <a:gd name="csX2" fmla="*/ 174444 w 174443"/>
                <a:gd name="csY2" fmla="*/ 86493 h 86492"/>
              </a:gdLst>
              <a:ahLst/>
              <a:cxnLst>
                <a:cxn ang="0">
                  <a:pos x="csX0" y="csY0"/>
                </a:cxn>
                <a:cxn ang="0">
                  <a:pos x="csX1" y="csY1"/>
                </a:cxn>
                <a:cxn ang="0">
                  <a:pos x="csX2" y="csY2"/>
                </a:cxn>
              </a:cxnLst>
              <a:rect l="l" t="t" r="r" b="b"/>
              <a:pathLst>
                <a:path w="174443" h="86492">
                  <a:moveTo>
                    <a:pt x="0" y="85950"/>
                  </a:moveTo>
                  <a:lnTo>
                    <a:pt x="86948" y="0"/>
                  </a:lnTo>
                  <a:lnTo>
                    <a:pt x="174444" y="86493"/>
                  </a:lnTo>
                </a:path>
              </a:pathLst>
            </a:custGeom>
            <a:noFill/>
            <a:ln w="68580" cap="sq">
              <a:solidFill>
                <a:schemeClr val="accent2"/>
              </a:solidFill>
              <a:prstDash val="solid"/>
              <a:round/>
            </a:ln>
          </p:spPr>
          <p:txBody>
            <a:bodyPr/>
            <a:lstStyle/>
            <a:p>
              <a:endParaRPr lang="en-US"/>
            </a:p>
          </p:txBody>
        </p:sp>
      </p:grpSp>
      <p:sp>
        <p:nvSpPr>
          <p:cNvPr id="22" name="Tijdelijke aanduiding voor tekst 5">
            <a:extLst>
              <a:ext uri="{FF2B5EF4-FFF2-40B4-BE49-F238E27FC236}">
                <a16:creationId xmlns:a16="http://schemas.microsoft.com/office/drawing/2014/main" id="{4BBEF589-9D32-B4B7-4733-8CC2B1D8263E}"/>
              </a:ext>
            </a:extLst>
          </p:cNvPr>
          <p:cNvSpPr txBox="1"/>
          <p:nvPr/>
        </p:nvSpPr>
        <p:spPr>
          <a:xfrm>
            <a:off x="8155902" y="1571760"/>
            <a:ext cx="3442539" cy="664797"/>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a:solidFill>
                  <a:schemeClr val="tx1"/>
                </a:solidFill>
              </a:rPr>
              <a:t>Disparities in investments and outcomes</a:t>
            </a:r>
          </a:p>
        </p:txBody>
      </p:sp>
      <p:grpSp>
        <p:nvGrpSpPr>
          <p:cNvPr id="33" name="Group 32">
            <a:extLst>
              <a:ext uri="{FF2B5EF4-FFF2-40B4-BE49-F238E27FC236}">
                <a16:creationId xmlns:a16="http://schemas.microsoft.com/office/drawing/2014/main" id="{B2768E61-16F8-3CF2-7FE2-C235E1EDDD78}"/>
              </a:ext>
            </a:extLst>
          </p:cNvPr>
          <p:cNvGrpSpPr/>
          <p:nvPr/>
        </p:nvGrpSpPr>
        <p:grpSpPr>
          <a:xfrm>
            <a:off x="7228256" y="5448655"/>
            <a:ext cx="524687" cy="524687"/>
            <a:chOff x="7120527" y="2864944"/>
            <a:chExt cx="565117" cy="565117"/>
          </a:xfrm>
        </p:grpSpPr>
        <p:sp>
          <p:nvSpPr>
            <p:cNvPr id="26" name="Oval 25">
              <a:extLst>
                <a:ext uri="{FF2B5EF4-FFF2-40B4-BE49-F238E27FC236}">
                  <a16:creationId xmlns:a16="http://schemas.microsoft.com/office/drawing/2014/main" id="{4765DCAB-CB6E-9270-54F0-6236095392FD}"/>
                </a:ext>
              </a:extLst>
            </p:cNvPr>
            <p:cNvSpPr/>
            <p:nvPr/>
          </p:nvSpPr>
          <p:spPr>
            <a:xfrm>
              <a:off x="7139080" y="2883495"/>
              <a:ext cx="528016" cy="528016"/>
            </a:xfrm>
            <a:prstGeom prst="ellipse">
              <a:avLst/>
            </a:prstGeom>
            <a:solidFill>
              <a:schemeClr val="accent1"/>
            </a:solidFill>
            <a:ln w="5588" cap="flat">
              <a:noFill/>
              <a:prstDash val="solid"/>
              <a:miter/>
            </a:ln>
          </p:spPr>
          <p:txBody>
            <a:bodyPr/>
            <a:lstStyle/>
            <a:p>
              <a:endParaRPr lang="en-US"/>
            </a:p>
          </p:txBody>
        </p:sp>
        <p:sp>
          <p:nvSpPr>
            <p:cNvPr id="27" name="Freeform: Shape 26">
              <a:extLst>
                <a:ext uri="{FF2B5EF4-FFF2-40B4-BE49-F238E27FC236}">
                  <a16:creationId xmlns:a16="http://schemas.microsoft.com/office/drawing/2014/main" id="{5FF126C0-8B9E-BDAB-5875-70AEA877E2B3}"/>
                </a:ext>
              </a:extLst>
            </p:cNvPr>
            <p:cNvSpPr/>
            <p:nvPr/>
          </p:nvSpPr>
          <p:spPr>
            <a:xfrm>
              <a:off x="7120527" y="2864944"/>
              <a:ext cx="565117" cy="565117"/>
            </a:xfrm>
            <a:custGeom>
              <a:avLst/>
              <a:gdLst>
                <a:gd name="csX0" fmla="*/ 282559 w 565117"/>
                <a:gd name="csY0" fmla="*/ 37102 h 565117"/>
                <a:gd name="csX1" fmla="*/ 528015 w 565117"/>
                <a:gd name="csY1" fmla="*/ 282559 h 565117"/>
                <a:gd name="csX2" fmla="*/ 282559 w 565117"/>
                <a:gd name="csY2" fmla="*/ 528015 h 565117"/>
                <a:gd name="csX3" fmla="*/ 37102 w 565117"/>
                <a:gd name="csY3" fmla="*/ 282559 h 565117"/>
                <a:gd name="csX4" fmla="*/ 282559 w 565117"/>
                <a:gd name="csY4" fmla="*/ 37102 h 565117"/>
                <a:gd name="csX5" fmla="*/ 282559 w 565117"/>
                <a:gd name="csY5" fmla="*/ 0 h 565117"/>
                <a:gd name="csX6" fmla="*/ 0 w 565117"/>
                <a:gd name="csY6" fmla="*/ 282559 h 565117"/>
                <a:gd name="csX7" fmla="*/ 282559 w 565117"/>
                <a:gd name="csY7" fmla="*/ 565117 h 565117"/>
                <a:gd name="csX8" fmla="*/ 565117 w 565117"/>
                <a:gd name="csY8" fmla="*/ 282559 h 565117"/>
                <a:gd name="csX9" fmla="*/ 282559 w 565117"/>
                <a:gd name="csY9" fmla="*/ 0 h 565117"/>
                <a:gd name="csX10" fmla="*/ 282559 w 565117"/>
                <a:gd name="csY10" fmla="*/ 0 h 56511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565117" h="565117">
                  <a:moveTo>
                    <a:pt x="282559" y="37102"/>
                  </a:moveTo>
                  <a:cubicBezTo>
                    <a:pt x="417904" y="37102"/>
                    <a:pt x="528015" y="147213"/>
                    <a:pt x="528015" y="282559"/>
                  </a:cubicBezTo>
                  <a:cubicBezTo>
                    <a:pt x="528015" y="417904"/>
                    <a:pt x="417904" y="528015"/>
                    <a:pt x="282559" y="528015"/>
                  </a:cubicBezTo>
                  <a:cubicBezTo>
                    <a:pt x="147213" y="528015"/>
                    <a:pt x="37102" y="417904"/>
                    <a:pt x="37102" y="282559"/>
                  </a:cubicBezTo>
                  <a:cubicBezTo>
                    <a:pt x="37102" y="147213"/>
                    <a:pt x="147213" y="37102"/>
                    <a:pt x="282559" y="37102"/>
                  </a:cubicBezTo>
                  <a:moveTo>
                    <a:pt x="282559" y="0"/>
                  </a:moveTo>
                  <a:cubicBezTo>
                    <a:pt x="126506" y="0"/>
                    <a:pt x="0" y="126506"/>
                    <a:pt x="0" y="282559"/>
                  </a:cubicBezTo>
                  <a:cubicBezTo>
                    <a:pt x="0" y="438611"/>
                    <a:pt x="126506" y="565117"/>
                    <a:pt x="282559" y="565117"/>
                  </a:cubicBezTo>
                  <a:cubicBezTo>
                    <a:pt x="438611" y="565117"/>
                    <a:pt x="565117" y="438611"/>
                    <a:pt x="565117" y="282559"/>
                  </a:cubicBezTo>
                  <a:cubicBezTo>
                    <a:pt x="565117" y="126506"/>
                    <a:pt x="438611" y="0"/>
                    <a:pt x="282559" y="0"/>
                  </a:cubicBezTo>
                  <a:lnTo>
                    <a:pt x="282559" y="0"/>
                  </a:lnTo>
                  <a:close/>
                </a:path>
              </a:pathLst>
            </a:custGeom>
            <a:solidFill>
              <a:schemeClr val="accent1"/>
            </a:solidFill>
            <a:ln w="5588" cap="flat">
              <a:solidFill>
                <a:schemeClr val="accent1"/>
              </a:solidFill>
              <a:prstDash val="solid"/>
              <a:miter/>
            </a:ln>
          </p:spPr>
          <p:txBody>
            <a:bodyPr/>
            <a:lstStyle/>
            <a:p>
              <a:endParaRPr lang="en-US"/>
            </a:p>
          </p:txBody>
        </p:sp>
        <p:sp>
          <p:nvSpPr>
            <p:cNvPr id="28" name="Freeform: Shape 27">
              <a:extLst>
                <a:ext uri="{FF2B5EF4-FFF2-40B4-BE49-F238E27FC236}">
                  <a16:creationId xmlns:a16="http://schemas.microsoft.com/office/drawing/2014/main" id="{BA4AF0F1-9938-8D54-44EA-45B4A64B693E}"/>
                </a:ext>
              </a:extLst>
            </p:cNvPr>
            <p:cNvSpPr/>
            <p:nvPr/>
          </p:nvSpPr>
          <p:spPr>
            <a:xfrm>
              <a:off x="7242701" y="3118654"/>
              <a:ext cx="163676" cy="5595"/>
            </a:xfrm>
            <a:custGeom>
              <a:avLst/>
              <a:gdLst>
                <a:gd name="csX0" fmla="*/ 0 w 163676"/>
                <a:gd name="csY0" fmla="*/ 0 h 5595"/>
                <a:gd name="csX1" fmla="*/ 163677 w 163676"/>
                <a:gd name="csY1" fmla="*/ 0 h 5595"/>
              </a:gdLst>
              <a:ahLst/>
              <a:cxnLst>
                <a:cxn ang="0">
                  <a:pos x="csX0" y="csY0"/>
                </a:cxn>
                <a:cxn ang="0">
                  <a:pos x="csX1" y="csY1"/>
                </a:cxn>
              </a:cxnLst>
              <a:rect l="l" t="t" r="r" b="b"/>
              <a:pathLst>
                <a:path w="163676" h="5595">
                  <a:moveTo>
                    <a:pt x="0" y="0"/>
                  </a:moveTo>
                  <a:lnTo>
                    <a:pt x="163677" y="0"/>
                  </a:lnTo>
                </a:path>
              </a:pathLst>
            </a:custGeom>
            <a:ln w="27940" cap="flat">
              <a:solidFill>
                <a:srgbClr val="FFFFFF"/>
              </a:solidFill>
              <a:prstDash val="solid"/>
              <a:miter/>
            </a:ln>
          </p:spPr>
          <p:txBody>
            <a:bodyPr/>
            <a:lstStyle/>
            <a:p>
              <a:endParaRPr lang="en-US"/>
            </a:p>
          </p:txBody>
        </p:sp>
        <p:sp>
          <p:nvSpPr>
            <p:cNvPr id="31" name="Freeform: Shape 30">
              <a:extLst>
                <a:ext uri="{FF2B5EF4-FFF2-40B4-BE49-F238E27FC236}">
                  <a16:creationId xmlns:a16="http://schemas.microsoft.com/office/drawing/2014/main" id="{78D2D7C0-2C1D-70E0-67E7-BD93010BCB10}"/>
                </a:ext>
              </a:extLst>
            </p:cNvPr>
            <p:cNvSpPr/>
            <p:nvPr/>
          </p:nvSpPr>
          <p:spPr>
            <a:xfrm>
              <a:off x="7242701" y="3174392"/>
              <a:ext cx="163676" cy="5595"/>
            </a:xfrm>
            <a:custGeom>
              <a:avLst/>
              <a:gdLst>
                <a:gd name="csX0" fmla="*/ 0 w 163676"/>
                <a:gd name="csY0" fmla="*/ 0 h 5595"/>
                <a:gd name="csX1" fmla="*/ 163677 w 163676"/>
                <a:gd name="csY1" fmla="*/ 0 h 5595"/>
              </a:gdLst>
              <a:ahLst/>
              <a:cxnLst>
                <a:cxn ang="0">
                  <a:pos x="csX0" y="csY0"/>
                </a:cxn>
                <a:cxn ang="0">
                  <a:pos x="csX1" y="csY1"/>
                </a:cxn>
              </a:cxnLst>
              <a:rect l="l" t="t" r="r" b="b"/>
              <a:pathLst>
                <a:path w="163676" h="5595">
                  <a:moveTo>
                    <a:pt x="0" y="0"/>
                  </a:moveTo>
                  <a:lnTo>
                    <a:pt x="163677" y="0"/>
                  </a:lnTo>
                </a:path>
              </a:pathLst>
            </a:custGeom>
            <a:ln w="27940" cap="flat">
              <a:solidFill>
                <a:srgbClr val="FFFFFF"/>
              </a:solidFill>
              <a:prstDash val="solid"/>
              <a:miter/>
            </a:ln>
          </p:spPr>
          <p:txBody>
            <a:bodyPr/>
            <a:lstStyle/>
            <a:p>
              <a:endParaRPr lang="en-US"/>
            </a:p>
          </p:txBody>
        </p:sp>
        <p:sp>
          <p:nvSpPr>
            <p:cNvPr id="32" name="Freeform: Shape 31">
              <a:extLst>
                <a:ext uri="{FF2B5EF4-FFF2-40B4-BE49-F238E27FC236}">
                  <a16:creationId xmlns:a16="http://schemas.microsoft.com/office/drawing/2014/main" id="{2D6B7A58-DCAB-59D7-5065-36447B610C9F}"/>
                </a:ext>
              </a:extLst>
            </p:cNvPr>
            <p:cNvSpPr/>
            <p:nvPr/>
          </p:nvSpPr>
          <p:spPr>
            <a:xfrm>
              <a:off x="7287591" y="3022093"/>
              <a:ext cx="229275" cy="250819"/>
            </a:xfrm>
            <a:custGeom>
              <a:avLst/>
              <a:gdLst>
                <a:gd name="csX0" fmla="*/ 218467 w 229275"/>
                <a:gd name="csY0" fmla="*/ 41337 h 250819"/>
                <a:gd name="csX1" fmla="*/ 125410 w 229275"/>
                <a:gd name="csY1" fmla="*/ 0 h 250819"/>
                <a:gd name="csX2" fmla="*/ 0 w 229275"/>
                <a:gd name="csY2" fmla="*/ 125410 h 250819"/>
                <a:gd name="csX3" fmla="*/ 125410 w 229275"/>
                <a:gd name="csY3" fmla="*/ 250820 h 250819"/>
                <a:gd name="csX4" fmla="*/ 229275 w 229275"/>
                <a:gd name="csY4" fmla="*/ 195715 h 250819"/>
              </a:gdLst>
              <a:ahLst/>
              <a:cxnLst>
                <a:cxn ang="0">
                  <a:pos x="csX0" y="csY0"/>
                </a:cxn>
                <a:cxn ang="0">
                  <a:pos x="csX1" y="csY1"/>
                </a:cxn>
                <a:cxn ang="0">
                  <a:pos x="csX2" y="csY2"/>
                </a:cxn>
                <a:cxn ang="0">
                  <a:pos x="csX3" y="csY3"/>
                </a:cxn>
                <a:cxn ang="0">
                  <a:pos x="csX4" y="csY4"/>
                </a:cxn>
              </a:cxnLst>
              <a:rect l="l" t="t" r="r" b="b"/>
              <a:pathLst>
                <a:path w="229275" h="250819">
                  <a:moveTo>
                    <a:pt x="218467" y="41337"/>
                  </a:moveTo>
                  <a:cubicBezTo>
                    <a:pt x="195517" y="15951"/>
                    <a:pt x="162326" y="0"/>
                    <a:pt x="125410" y="0"/>
                  </a:cubicBezTo>
                  <a:cubicBezTo>
                    <a:pt x="56148" y="0"/>
                    <a:pt x="0" y="56148"/>
                    <a:pt x="0" y="125410"/>
                  </a:cubicBezTo>
                  <a:cubicBezTo>
                    <a:pt x="0" y="207058"/>
                    <a:pt x="56148" y="250820"/>
                    <a:pt x="125410" y="250820"/>
                  </a:cubicBezTo>
                  <a:cubicBezTo>
                    <a:pt x="168618" y="250820"/>
                    <a:pt x="206722" y="228969"/>
                    <a:pt x="229275" y="195715"/>
                  </a:cubicBezTo>
                </a:path>
              </a:pathLst>
            </a:custGeom>
            <a:noFill/>
            <a:ln w="50292" cap="flat">
              <a:solidFill>
                <a:srgbClr val="FFFFFF"/>
              </a:solidFill>
              <a:prstDash val="solid"/>
              <a:miter/>
            </a:ln>
          </p:spPr>
          <p:txBody>
            <a:bodyPr/>
            <a:lstStyle/>
            <a:p>
              <a:endParaRPr lang="en-US"/>
            </a:p>
          </p:txBody>
        </p:sp>
      </p:grpSp>
      <p:sp>
        <p:nvSpPr>
          <p:cNvPr id="34" name="Tijdelijke aanduiding voor tekst 5">
            <a:extLst>
              <a:ext uri="{FF2B5EF4-FFF2-40B4-BE49-F238E27FC236}">
                <a16:creationId xmlns:a16="http://schemas.microsoft.com/office/drawing/2014/main" id="{C41A8FD6-2793-067F-76DF-FB38DC348685}"/>
              </a:ext>
            </a:extLst>
          </p:cNvPr>
          <p:cNvSpPr txBox="1"/>
          <p:nvPr/>
        </p:nvSpPr>
        <p:spPr>
          <a:xfrm>
            <a:off x="13942340" y="1215266"/>
            <a:ext cx="3442539" cy="664797"/>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a:solidFill>
                  <a:schemeClr val="tx1"/>
                </a:solidFill>
              </a:rPr>
              <a:t>Enabler of life-fulfilling activities</a:t>
            </a:r>
          </a:p>
        </p:txBody>
      </p:sp>
      <p:grpSp>
        <p:nvGrpSpPr>
          <p:cNvPr id="45" name="Group 44">
            <a:extLst>
              <a:ext uri="{FF2B5EF4-FFF2-40B4-BE49-F238E27FC236}">
                <a16:creationId xmlns:a16="http://schemas.microsoft.com/office/drawing/2014/main" id="{2845B90A-9E01-DD53-7994-599C12C5259C}"/>
              </a:ext>
            </a:extLst>
          </p:cNvPr>
          <p:cNvGrpSpPr/>
          <p:nvPr/>
        </p:nvGrpSpPr>
        <p:grpSpPr>
          <a:xfrm>
            <a:off x="12901420" y="1200060"/>
            <a:ext cx="627984" cy="578014"/>
            <a:chOff x="7117133" y="3927749"/>
            <a:chExt cx="627984" cy="578014"/>
          </a:xfrm>
        </p:grpSpPr>
        <p:sp>
          <p:nvSpPr>
            <p:cNvPr id="37" name="Freeform: Shape 36">
              <a:extLst>
                <a:ext uri="{FF2B5EF4-FFF2-40B4-BE49-F238E27FC236}">
                  <a16:creationId xmlns:a16="http://schemas.microsoft.com/office/drawing/2014/main" id="{D413BF16-62A3-0B97-9393-95049953FDB3}"/>
                </a:ext>
              </a:extLst>
            </p:cNvPr>
            <p:cNvSpPr/>
            <p:nvPr/>
          </p:nvSpPr>
          <p:spPr>
            <a:xfrm>
              <a:off x="7230724" y="4159826"/>
              <a:ext cx="300576" cy="345937"/>
            </a:xfrm>
            <a:custGeom>
              <a:avLst/>
              <a:gdLst>
                <a:gd name="csX0" fmla="*/ 0 w 300576"/>
                <a:gd name="csY0" fmla="*/ 0 h 345937"/>
                <a:gd name="csX1" fmla="*/ 160409 w 300576"/>
                <a:gd name="csY1" fmla="*/ 974 h 345937"/>
                <a:gd name="csX2" fmla="*/ 160409 w 300576"/>
                <a:gd name="csY2" fmla="*/ 345938 h 345937"/>
                <a:gd name="csX3" fmla="*/ 300577 w 300576"/>
                <a:gd name="csY3" fmla="*/ 345938 h 345937"/>
              </a:gdLst>
              <a:ahLst/>
              <a:cxnLst>
                <a:cxn ang="0">
                  <a:pos x="csX0" y="csY0"/>
                </a:cxn>
                <a:cxn ang="0">
                  <a:pos x="csX1" y="csY1"/>
                </a:cxn>
                <a:cxn ang="0">
                  <a:pos x="csX2" y="csY2"/>
                </a:cxn>
                <a:cxn ang="0">
                  <a:pos x="csX3" y="csY3"/>
                </a:cxn>
              </a:cxnLst>
              <a:rect l="l" t="t" r="r" b="b"/>
              <a:pathLst>
                <a:path w="300576" h="345937">
                  <a:moveTo>
                    <a:pt x="0" y="0"/>
                  </a:moveTo>
                  <a:lnTo>
                    <a:pt x="160409" y="974"/>
                  </a:lnTo>
                  <a:lnTo>
                    <a:pt x="160409" y="345938"/>
                  </a:lnTo>
                  <a:lnTo>
                    <a:pt x="300577" y="345938"/>
                  </a:lnTo>
                </a:path>
              </a:pathLst>
            </a:custGeom>
            <a:noFill/>
            <a:ln w="55245" cap="sq">
              <a:solidFill>
                <a:schemeClr val="accent1"/>
              </a:solidFill>
              <a:prstDash val="solid"/>
              <a:round/>
            </a:ln>
          </p:spPr>
          <p:txBody>
            <a:bodyPr/>
            <a:lstStyle/>
            <a:p>
              <a:endParaRPr lang="en-US"/>
            </a:p>
          </p:txBody>
        </p:sp>
        <p:sp>
          <p:nvSpPr>
            <p:cNvPr id="38" name="Freeform: Shape 37">
              <a:extLst>
                <a:ext uri="{FF2B5EF4-FFF2-40B4-BE49-F238E27FC236}">
                  <a16:creationId xmlns:a16="http://schemas.microsoft.com/office/drawing/2014/main" id="{74D8C710-D533-A019-3AA0-2E7990A7AAC6}"/>
                </a:ext>
              </a:extLst>
            </p:cNvPr>
            <p:cNvSpPr/>
            <p:nvPr/>
          </p:nvSpPr>
          <p:spPr>
            <a:xfrm>
              <a:off x="7584208" y="4332464"/>
              <a:ext cx="105469" cy="164068"/>
            </a:xfrm>
            <a:custGeom>
              <a:avLst/>
              <a:gdLst>
                <a:gd name="csX0" fmla="*/ 105470 w 105469"/>
                <a:gd name="csY0" fmla="*/ 52736 h 164068"/>
                <a:gd name="csX1" fmla="*/ 52735 w 105469"/>
                <a:gd name="csY1" fmla="*/ 164069 h 164068"/>
                <a:gd name="csX2" fmla="*/ 0 w 105469"/>
                <a:gd name="csY2" fmla="*/ 52736 h 164068"/>
                <a:gd name="csX3" fmla="*/ 52735 w 105469"/>
                <a:gd name="csY3" fmla="*/ 0 h 164068"/>
                <a:gd name="csX4" fmla="*/ 105470 w 105469"/>
                <a:gd name="csY4" fmla="*/ 52736 h 164068"/>
              </a:gdLst>
              <a:ahLst/>
              <a:cxnLst>
                <a:cxn ang="0">
                  <a:pos x="csX0" y="csY0"/>
                </a:cxn>
                <a:cxn ang="0">
                  <a:pos x="csX1" y="csY1"/>
                </a:cxn>
                <a:cxn ang="0">
                  <a:pos x="csX2" y="csY2"/>
                </a:cxn>
                <a:cxn ang="0">
                  <a:pos x="csX3" y="csY3"/>
                </a:cxn>
                <a:cxn ang="0">
                  <a:pos x="csX4" y="csY4"/>
                </a:cxn>
              </a:cxnLst>
              <a:rect l="l" t="t" r="r" b="b"/>
              <a:pathLst>
                <a:path w="105469" h="164068">
                  <a:moveTo>
                    <a:pt x="105470" y="52736"/>
                  </a:moveTo>
                  <a:cubicBezTo>
                    <a:pt x="105470" y="81862"/>
                    <a:pt x="52735" y="164069"/>
                    <a:pt x="52735" y="164069"/>
                  </a:cubicBezTo>
                  <a:cubicBezTo>
                    <a:pt x="52735" y="164069"/>
                    <a:pt x="0" y="81862"/>
                    <a:pt x="0" y="52736"/>
                  </a:cubicBezTo>
                  <a:cubicBezTo>
                    <a:pt x="0" y="23611"/>
                    <a:pt x="23612" y="0"/>
                    <a:pt x="52735" y="0"/>
                  </a:cubicBezTo>
                  <a:cubicBezTo>
                    <a:pt x="81863" y="0"/>
                    <a:pt x="105470" y="23611"/>
                    <a:pt x="105470" y="52736"/>
                  </a:cubicBezTo>
                  <a:close/>
                </a:path>
              </a:pathLst>
            </a:custGeom>
            <a:solidFill>
              <a:schemeClr val="accent1"/>
            </a:solidFill>
            <a:ln w="44196" cap="flat">
              <a:solidFill>
                <a:schemeClr val="accent1"/>
              </a:solidFill>
              <a:prstDash val="solid"/>
              <a:miter/>
            </a:ln>
          </p:spPr>
          <p:txBody>
            <a:bodyPr/>
            <a:lstStyle/>
            <a:p>
              <a:endParaRPr lang="en-US"/>
            </a:p>
          </p:txBody>
        </p:sp>
        <p:sp>
          <p:nvSpPr>
            <p:cNvPr id="39" name="Oval 38">
              <a:extLst>
                <a:ext uri="{FF2B5EF4-FFF2-40B4-BE49-F238E27FC236}">
                  <a16:creationId xmlns:a16="http://schemas.microsoft.com/office/drawing/2014/main" id="{33F6C3C2-6020-61B8-9DFA-F3F0B5A9B189}"/>
                </a:ext>
              </a:extLst>
            </p:cNvPr>
            <p:cNvSpPr/>
            <p:nvPr/>
          </p:nvSpPr>
          <p:spPr>
            <a:xfrm>
              <a:off x="7607781" y="4356263"/>
              <a:ext cx="60984" cy="60984"/>
            </a:xfrm>
            <a:prstGeom prst="ellipse">
              <a:avLst/>
            </a:prstGeom>
            <a:solidFill>
              <a:srgbClr val="FFFFFF"/>
            </a:solidFill>
            <a:ln w="5525" cap="flat">
              <a:solidFill>
                <a:schemeClr val="accent1"/>
              </a:solidFill>
              <a:prstDash val="solid"/>
              <a:miter/>
            </a:ln>
          </p:spPr>
          <p:txBody>
            <a:bodyPr/>
            <a:lstStyle/>
            <a:p>
              <a:endParaRPr lang="en-US"/>
            </a:p>
          </p:txBody>
        </p:sp>
        <p:sp>
          <p:nvSpPr>
            <p:cNvPr id="40" name="Oval 39">
              <a:extLst>
                <a:ext uri="{FF2B5EF4-FFF2-40B4-BE49-F238E27FC236}">
                  <a16:creationId xmlns:a16="http://schemas.microsoft.com/office/drawing/2014/main" id="{F48ECCF6-9C6C-62B0-23D8-4ACF647291D1}"/>
                </a:ext>
              </a:extLst>
            </p:cNvPr>
            <p:cNvSpPr/>
            <p:nvPr/>
          </p:nvSpPr>
          <p:spPr>
            <a:xfrm>
              <a:off x="7117133" y="4126186"/>
              <a:ext cx="60984" cy="60984"/>
            </a:xfrm>
            <a:prstGeom prst="ellipse">
              <a:avLst/>
            </a:prstGeom>
            <a:solidFill>
              <a:schemeClr val="accent1"/>
            </a:solidFill>
            <a:ln w="5525" cap="flat">
              <a:solidFill>
                <a:schemeClr val="accent1"/>
              </a:solidFill>
              <a:prstDash val="solid"/>
              <a:miter/>
            </a:ln>
          </p:spPr>
          <p:txBody>
            <a:bodyPr/>
            <a:lstStyle/>
            <a:p>
              <a:endParaRPr lang="en-US"/>
            </a:p>
          </p:txBody>
        </p:sp>
        <p:sp>
          <p:nvSpPr>
            <p:cNvPr id="41" name="Freeform: Shape 40">
              <a:extLst>
                <a:ext uri="{FF2B5EF4-FFF2-40B4-BE49-F238E27FC236}">
                  <a16:creationId xmlns:a16="http://schemas.microsoft.com/office/drawing/2014/main" id="{D65DDF0C-C0E9-D1B6-8B04-964482416DBE}"/>
                </a:ext>
              </a:extLst>
            </p:cNvPr>
            <p:cNvSpPr/>
            <p:nvPr/>
          </p:nvSpPr>
          <p:spPr>
            <a:xfrm>
              <a:off x="7302797" y="4087754"/>
              <a:ext cx="289488" cy="307129"/>
            </a:xfrm>
            <a:custGeom>
              <a:avLst/>
              <a:gdLst>
                <a:gd name="csX0" fmla="*/ 0 w 289488"/>
                <a:gd name="csY0" fmla="*/ 307130 h 307129"/>
                <a:gd name="csX1" fmla="*/ 188129 w 289488"/>
                <a:gd name="csY1" fmla="*/ 306156 h 307129"/>
                <a:gd name="csX2" fmla="*/ 188129 w 289488"/>
                <a:gd name="csY2" fmla="*/ 0 h 307129"/>
                <a:gd name="csX3" fmla="*/ 289489 w 289488"/>
                <a:gd name="csY3" fmla="*/ 0 h 307129"/>
              </a:gdLst>
              <a:ahLst/>
              <a:cxnLst>
                <a:cxn ang="0">
                  <a:pos x="csX0" y="csY0"/>
                </a:cxn>
                <a:cxn ang="0">
                  <a:pos x="csX1" y="csY1"/>
                </a:cxn>
                <a:cxn ang="0">
                  <a:pos x="csX2" y="csY2"/>
                </a:cxn>
                <a:cxn ang="0">
                  <a:pos x="csX3" y="csY3"/>
                </a:cxn>
              </a:cxnLst>
              <a:rect l="l" t="t" r="r" b="b"/>
              <a:pathLst>
                <a:path w="289488" h="307129">
                  <a:moveTo>
                    <a:pt x="0" y="307130"/>
                  </a:moveTo>
                  <a:lnTo>
                    <a:pt x="188129" y="306156"/>
                  </a:lnTo>
                  <a:lnTo>
                    <a:pt x="188129" y="0"/>
                  </a:lnTo>
                  <a:lnTo>
                    <a:pt x="289489" y="0"/>
                  </a:lnTo>
                </a:path>
              </a:pathLst>
            </a:custGeom>
            <a:noFill/>
            <a:ln w="55245" cap="sq">
              <a:solidFill>
                <a:srgbClr val="CCDAE8"/>
              </a:solidFill>
              <a:prstDash val="solid"/>
              <a:round/>
            </a:ln>
          </p:spPr>
          <p:txBody>
            <a:bodyPr/>
            <a:lstStyle/>
            <a:p>
              <a:endParaRPr lang="en-US"/>
            </a:p>
          </p:txBody>
        </p:sp>
        <p:sp>
          <p:nvSpPr>
            <p:cNvPr id="42" name="Freeform: Shape 41">
              <a:extLst>
                <a:ext uri="{FF2B5EF4-FFF2-40B4-BE49-F238E27FC236}">
                  <a16:creationId xmlns:a16="http://schemas.microsoft.com/office/drawing/2014/main" id="{849FC013-4EBD-1720-6848-A1815353D998}"/>
                </a:ext>
              </a:extLst>
            </p:cNvPr>
            <p:cNvSpPr/>
            <p:nvPr/>
          </p:nvSpPr>
          <p:spPr>
            <a:xfrm>
              <a:off x="7639648" y="3927749"/>
              <a:ext cx="105469" cy="164067"/>
            </a:xfrm>
            <a:custGeom>
              <a:avLst/>
              <a:gdLst>
                <a:gd name="csX0" fmla="*/ 105470 w 105469"/>
                <a:gd name="csY0" fmla="*/ 52736 h 164067"/>
                <a:gd name="csX1" fmla="*/ 52735 w 105469"/>
                <a:gd name="csY1" fmla="*/ 164068 h 164067"/>
                <a:gd name="csX2" fmla="*/ 0 w 105469"/>
                <a:gd name="csY2" fmla="*/ 52736 h 164067"/>
                <a:gd name="csX3" fmla="*/ 52735 w 105469"/>
                <a:gd name="csY3" fmla="*/ 0 h 164067"/>
                <a:gd name="csX4" fmla="*/ 105470 w 105469"/>
                <a:gd name="csY4" fmla="*/ 52736 h 164067"/>
              </a:gdLst>
              <a:ahLst/>
              <a:cxnLst>
                <a:cxn ang="0">
                  <a:pos x="csX0" y="csY0"/>
                </a:cxn>
                <a:cxn ang="0">
                  <a:pos x="csX1" y="csY1"/>
                </a:cxn>
                <a:cxn ang="0">
                  <a:pos x="csX2" y="csY2"/>
                </a:cxn>
                <a:cxn ang="0">
                  <a:pos x="csX3" y="csY3"/>
                </a:cxn>
                <a:cxn ang="0">
                  <a:pos x="csX4" y="csY4"/>
                </a:cxn>
              </a:cxnLst>
              <a:rect l="l" t="t" r="r" b="b"/>
              <a:pathLst>
                <a:path w="105469" h="164067">
                  <a:moveTo>
                    <a:pt x="105470" y="52736"/>
                  </a:moveTo>
                  <a:cubicBezTo>
                    <a:pt x="105470" y="81861"/>
                    <a:pt x="52735" y="164068"/>
                    <a:pt x="52735" y="164068"/>
                  </a:cubicBezTo>
                  <a:cubicBezTo>
                    <a:pt x="52735" y="164068"/>
                    <a:pt x="0" y="81861"/>
                    <a:pt x="0" y="52736"/>
                  </a:cubicBezTo>
                  <a:cubicBezTo>
                    <a:pt x="0" y="23611"/>
                    <a:pt x="23612" y="0"/>
                    <a:pt x="52735" y="0"/>
                  </a:cubicBezTo>
                  <a:cubicBezTo>
                    <a:pt x="81863" y="0"/>
                    <a:pt x="105470" y="23611"/>
                    <a:pt x="105470" y="52736"/>
                  </a:cubicBezTo>
                  <a:close/>
                </a:path>
              </a:pathLst>
            </a:custGeom>
            <a:solidFill>
              <a:srgbClr val="CCDAE8"/>
            </a:solidFill>
            <a:ln w="44196" cap="flat">
              <a:solidFill>
                <a:srgbClr val="CCDAE8"/>
              </a:solidFill>
              <a:prstDash val="solid"/>
              <a:miter/>
            </a:ln>
          </p:spPr>
          <p:txBody>
            <a:bodyPr/>
            <a:lstStyle/>
            <a:p>
              <a:endParaRPr lang="en-US"/>
            </a:p>
          </p:txBody>
        </p:sp>
        <p:sp>
          <p:nvSpPr>
            <p:cNvPr id="43" name="Oval 42">
              <a:extLst>
                <a:ext uri="{FF2B5EF4-FFF2-40B4-BE49-F238E27FC236}">
                  <a16:creationId xmlns:a16="http://schemas.microsoft.com/office/drawing/2014/main" id="{83DDE970-FC0F-06EB-CE6E-F1A899F460E3}"/>
                </a:ext>
              </a:extLst>
            </p:cNvPr>
            <p:cNvSpPr/>
            <p:nvPr/>
          </p:nvSpPr>
          <p:spPr>
            <a:xfrm>
              <a:off x="7663221" y="3951548"/>
              <a:ext cx="60984" cy="60984"/>
            </a:xfrm>
            <a:prstGeom prst="ellipse">
              <a:avLst/>
            </a:prstGeom>
            <a:solidFill>
              <a:srgbClr val="FFFFFF"/>
            </a:solidFill>
            <a:ln w="5525" cap="flat">
              <a:noFill/>
              <a:prstDash val="solid"/>
              <a:miter/>
            </a:ln>
          </p:spPr>
          <p:txBody>
            <a:bodyPr/>
            <a:lstStyle/>
            <a:p>
              <a:endParaRPr lang="en-US"/>
            </a:p>
          </p:txBody>
        </p:sp>
        <p:sp>
          <p:nvSpPr>
            <p:cNvPr id="44" name="Oval 43">
              <a:extLst>
                <a:ext uri="{FF2B5EF4-FFF2-40B4-BE49-F238E27FC236}">
                  <a16:creationId xmlns:a16="http://schemas.microsoft.com/office/drawing/2014/main" id="{8ECC2FE7-FFC8-0B55-2A3F-DDA776DCA353}"/>
                </a:ext>
              </a:extLst>
            </p:cNvPr>
            <p:cNvSpPr/>
            <p:nvPr/>
          </p:nvSpPr>
          <p:spPr>
            <a:xfrm>
              <a:off x="7189206" y="4364579"/>
              <a:ext cx="60984" cy="60984"/>
            </a:xfrm>
            <a:prstGeom prst="ellipse">
              <a:avLst/>
            </a:prstGeom>
            <a:solidFill>
              <a:srgbClr val="CCDAE8"/>
            </a:solidFill>
            <a:ln w="5525" cap="flat">
              <a:noFill/>
              <a:prstDash val="solid"/>
              <a:miter/>
            </a:ln>
          </p:spPr>
          <p:txBody>
            <a:bodyPr/>
            <a:lstStyle/>
            <a:p>
              <a:endParaRPr lang="en-US"/>
            </a:p>
          </p:txBody>
        </p:sp>
      </p:grpSp>
      <p:sp>
        <p:nvSpPr>
          <p:cNvPr id="48" name="Freeform: Shape 47">
            <a:extLst>
              <a:ext uri="{FF2B5EF4-FFF2-40B4-BE49-F238E27FC236}">
                <a16:creationId xmlns:a16="http://schemas.microsoft.com/office/drawing/2014/main" id="{21F393F3-D100-FB38-14D9-232F8F96F82D}"/>
              </a:ext>
            </a:extLst>
          </p:cNvPr>
          <p:cNvSpPr/>
          <p:nvPr/>
        </p:nvSpPr>
        <p:spPr>
          <a:xfrm>
            <a:off x="7383332" y="4734459"/>
            <a:ext cx="221291" cy="198324"/>
          </a:xfrm>
          <a:custGeom>
            <a:avLst/>
            <a:gdLst>
              <a:gd name="csX0" fmla="*/ 0 w 221291"/>
              <a:gd name="csY0" fmla="*/ 198324 h 198324"/>
              <a:gd name="csX1" fmla="*/ 221291 w 221291"/>
              <a:gd name="csY1" fmla="*/ 0 h 198324"/>
            </a:gdLst>
            <a:ahLst/>
            <a:cxnLst>
              <a:cxn ang="0">
                <a:pos x="csX0" y="csY0"/>
              </a:cxn>
              <a:cxn ang="0">
                <a:pos x="csX1" y="csY1"/>
              </a:cxn>
            </a:cxnLst>
            <a:rect l="l" t="t" r="r" b="b"/>
            <a:pathLst>
              <a:path w="221291" h="198324">
                <a:moveTo>
                  <a:pt x="0" y="198324"/>
                </a:moveTo>
                <a:lnTo>
                  <a:pt x="221291" y="0"/>
                </a:lnTo>
              </a:path>
            </a:pathLst>
          </a:custGeom>
          <a:ln w="55245" cap="sq">
            <a:solidFill>
              <a:schemeClr val="tx2"/>
            </a:solidFill>
            <a:prstDash val="solid"/>
            <a:round/>
          </a:ln>
        </p:spPr>
        <p:txBody>
          <a:bodyPr/>
          <a:lstStyle/>
          <a:p>
            <a:endParaRPr lang="en-US"/>
          </a:p>
        </p:txBody>
      </p:sp>
      <p:sp>
        <p:nvSpPr>
          <p:cNvPr id="49" name="Freeform: Shape 48">
            <a:extLst>
              <a:ext uri="{FF2B5EF4-FFF2-40B4-BE49-F238E27FC236}">
                <a16:creationId xmlns:a16="http://schemas.microsoft.com/office/drawing/2014/main" id="{6CC0C38B-FDDE-3202-9151-F41D28B24E02}"/>
              </a:ext>
            </a:extLst>
          </p:cNvPr>
          <p:cNvSpPr/>
          <p:nvPr/>
        </p:nvSpPr>
        <p:spPr>
          <a:xfrm>
            <a:off x="7531960" y="4710498"/>
            <a:ext cx="94917" cy="95509"/>
          </a:xfrm>
          <a:custGeom>
            <a:avLst/>
            <a:gdLst>
              <a:gd name="csX0" fmla="*/ 0 w 94917"/>
              <a:gd name="csY0" fmla="*/ 0 h 95509"/>
              <a:gd name="csX1" fmla="*/ 94370 w 94917"/>
              <a:gd name="csY1" fmla="*/ 544 h 95509"/>
              <a:gd name="csX2" fmla="*/ 94917 w 94917"/>
              <a:gd name="csY2" fmla="*/ 95509 h 95509"/>
            </a:gdLst>
            <a:ahLst/>
            <a:cxnLst>
              <a:cxn ang="0">
                <a:pos x="csX0" y="csY0"/>
              </a:cxn>
              <a:cxn ang="0">
                <a:pos x="csX1" y="csY1"/>
              </a:cxn>
              <a:cxn ang="0">
                <a:pos x="csX2" y="csY2"/>
              </a:cxn>
            </a:cxnLst>
            <a:rect l="l" t="t" r="r" b="b"/>
            <a:pathLst>
              <a:path w="94917" h="95509">
                <a:moveTo>
                  <a:pt x="0" y="0"/>
                </a:moveTo>
                <a:lnTo>
                  <a:pt x="94370" y="544"/>
                </a:lnTo>
                <a:lnTo>
                  <a:pt x="94917" y="95509"/>
                </a:lnTo>
              </a:path>
            </a:pathLst>
          </a:custGeom>
          <a:noFill/>
          <a:ln w="55245" cap="sq">
            <a:solidFill>
              <a:schemeClr val="tx2"/>
            </a:solidFill>
            <a:prstDash val="solid"/>
            <a:round/>
          </a:ln>
        </p:spPr>
        <p:txBody>
          <a:bodyPr/>
          <a:lstStyle/>
          <a:p>
            <a:endParaRPr lang="en-US"/>
          </a:p>
        </p:txBody>
      </p:sp>
      <p:sp>
        <p:nvSpPr>
          <p:cNvPr id="50" name="Freeform: Shape 49">
            <a:extLst>
              <a:ext uri="{FF2B5EF4-FFF2-40B4-BE49-F238E27FC236}">
                <a16:creationId xmlns:a16="http://schemas.microsoft.com/office/drawing/2014/main" id="{FC218C4E-E288-7A09-2B11-A4F06D60BB44}"/>
              </a:ext>
            </a:extLst>
          </p:cNvPr>
          <p:cNvSpPr/>
          <p:nvPr/>
        </p:nvSpPr>
        <p:spPr>
          <a:xfrm>
            <a:off x="7248154" y="4563692"/>
            <a:ext cx="102262" cy="119809"/>
          </a:xfrm>
          <a:custGeom>
            <a:avLst/>
            <a:gdLst>
              <a:gd name="csX0" fmla="*/ 0 w 102262"/>
              <a:gd name="csY0" fmla="*/ 119809 h 119809"/>
              <a:gd name="csX1" fmla="*/ 0 w 102262"/>
              <a:gd name="csY1" fmla="*/ 0 h 119809"/>
              <a:gd name="csX2" fmla="*/ 102262 w 102262"/>
              <a:gd name="csY2" fmla="*/ 0 h 119809"/>
            </a:gdLst>
            <a:ahLst/>
            <a:cxnLst>
              <a:cxn ang="0">
                <a:pos x="csX0" y="csY0"/>
              </a:cxn>
              <a:cxn ang="0">
                <a:pos x="csX1" y="csY1"/>
              </a:cxn>
              <a:cxn ang="0">
                <a:pos x="csX2" y="csY2"/>
              </a:cxn>
            </a:cxnLst>
            <a:rect l="l" t="t" r="r" b="b"/>
            <a:pathLst>
              <a:path w="102262" h="119809">
                <a:moveTo>
                  <a:pt x="0" y="119809"/>
                </a:moveTo>
                <a:lnTo>
                  <a:pt x="0" y="0"/>
                </a:lnTo>
                <a:lnTo>
                  <a:pt x="102262" y="0"/>
                </a:lnTo>
              </a:path>
            </a:pathLst>
          </a:custGeom>
          <a:noFill/>
          <a:ln w="55245" cap="sq">
            <a:solidFill>
              <a:srgbClr val="93AEC9"/>
            </a:solidFill>
            <a:prstDash val="solid"/>
            <a:round/>
          </a:ln>
        </p:spPr>
        <p:txBody>
          <a:bodyPr/>
          <a:lstStyle/>
          <a:p>
            <a:endParaRPr lang="en-US"/>
          </a:p>
        </p:txBody>
      </p:sp>
      <p:sp>
        <p:nvSpPr>
          <p:cNvPr id="51" name="Freeform: Shape 50">
            <a:extLst>
              <a:ext uri="{FF2B5EF4-FFF2-40B4-BE49-F238E27FC236}">
                <a16:creationId xmlns:a16="http://schemas.microsoft.com/office/drawing/2014/main" id="{A97D0613-9354-80D6-EC41-868A8F86F94D}"/>
              </a:ext>
            </a:extLst>
          </p:cNvPr>
          <p:cNvSpPr/>
          <p:nvPr/>
        </p:nvSpPr>
        <p:spPr>
          <a:xfrm>
            <a:off x="7633136" y="4563692"/>
            <a:ext cx="119807" cy="119809"/>
          </a:xfrm>
          <a:custGeom>
            <a:avLst/>
            <a:gdLst>
              <a:gd name="csX0" fmla="*/ 0 w 119807"/>
              <a:gd name="csY0" fmla="*/ 0 h 119809"/>
              <a:gd name="csX1" fmla="*/ 119807 w 119807"/>
              <a:gd name="csY1" fmla="*/ 0 h 119809"/>
              <a:gd name="csX2" fmla="*/ 119807 w 119807"/>
              <a:gd name="csY2" fmla="*/ 119809 h 119809"/>
            </a:gdLst>
            <a:ahLst/>
            <a:cxnLst>
              <a:cxn ang="0">
                <a:pos x="csX0" y="csY0"/>
              </a:cxn>
              <a:cxn ang="0">
                <a:pos x="csX1" y="csY1"/>
              </a:cxn>
              <a:cxn ang="0">
                <a:pos x="csX2" y="csY2"/>
              </a:cxn>
            </a:cxnLst>
            <a:rect l="l" t="t" r="r" b="b"/>
            <a:pathLst>
              <a:path w="119807" h="119809">
                <a:moveTo>
                  <a:pt x="0" y="0"/>
                </a:moveTo>
                <a:lnTo>
                  <a:pt x="119807" y="0"/>
                </a:lnTo>
                <a:lnTo>
                  <a:pt x="119807" y="119809"/>
                </a:lnTo>
              </a:path>
            </a:pathLst>
          </a:custGeom>
          <a:noFill/>
          <a:ln w="55245" cap="sq">
            <a:solidFill>
              <a:srgbClr val="93AEC9"/>
            </a:solidFill>
            <a:prstDash val="solid"/>
            <a:round/>
          </a:ln>
        </p:spPr>
        <p:txBody>
          <a:bodyPr/>
          <a:lstStyle/>
          <a:p>
            <a:endParaRPr lang="en-US"/>
          </a:p>
        </p:txBody>
      </p:sp>
      <p:sp>
        <p:nvSpPr>
          <p:cNvPr id="52" name="Freeform: Shape 51">
            <a:extLst>
              <a:ext uri="{FF2B5EF4-FFF2-40B4-BE49-F238E27FC236}">
                <a16:creationId xmlns:a16="http://schemas.microsoft.com/office/drawing/2014/main" id="{D80B20DF-3493-2C9D-A581-2FEBA1348990}"/>
              </a:ext>
            </a:extLst>
          </p:cNvPr>
          <p:cNvSpPr/>
          <p:nvPr/>
        </p:nvSpPr>
        <p:spPr>
          <a:xfrm>
            <a:off x="7248154" y="4937741"/>
            <a:ext cx="102262" cy="119812"/>
          </a:xfrm>
          <a:custGeom>
            <a:avLst/>
            <a:gdLst>
              <a:gd name="csX0" fmla="*/ 0 w 102262"/>
              <a:gd name="csY0" fmla="*/ 0 h 119812"/>
              <a:gd name="csX1" fmla="*/ 0 w 102262"/>
              <a:gd name="csY1" fmla="*/ 119812 h 119812"/>
              <a:gd name="csX2" fmla="*/ 102262 w 102262"/>
              <a:gd name="csY2" fmla="*/ 119812 h 119812"/>
            </a:gdLst>
            <a:ahLst/>
            <a:cxnLst>
              <a:cxn ang="0">
                <a:pos x="csX0" y="csY0"/>
              </a:cxn>
              <a:cxn ang="0">
                <a:pos x="csX1" y="csY1"/>
              </a:cxn>
              <a:cxn ang="0">
                <a:pos x="csX2" y="csY2"/>
              </a:cxn>
            </a:cxnLst>
            <a:rect l="l" t="t" r="r" b="b"/>
            <a:pathLst>
              <a:path w="102262" h="119812">
                <a:moveTo>
                  <a:pt x="0" y="0"/>
                </a:moveTo>
                <a:lnTo>
                  <a:pt x="0" y="119812"/>
                </a:lnTo>
                <a:lnTo>
                  <a:pt x="102262" y="119812"/>
                </a:lnTo>
              </a:path>
            </a:pathLst>
          </a:custGeom>
          <a:noFill/>
          <a:ln w="55245" cap="sq">
            <a:solidFill>
              <a:srgbClr val="93AEC9"/>
            </a:solidFill>
            <a:prstDash val="solid"/>
            <a:round/>
          </a:ln>
        </p:spPr>
        <p:txBody>
          <a:bodyPr/>
          <a:lstStyle/>
          <a:p>
            <a:endParaRPr lang="en-US"/>
          </a:p>
        </p:txBody>
      </p:sp>
      <p:sp>
        <p:nvSpPr>
          <p:cNvPr id="53" name="Freeform: Shape 52">
            <a:extLst>
              <a:ext uri="{FF2B5EF4-FFF2-40B4-BE49-F238E27FC236}">
                <a16:creationId xmlns:a16="http://schemas.microsoft.com/office/drawing/2014/main" id="{85BB372A-BD23-6832-B8FF-22632583E290}"/>
              </a:ext>
            </a:extLst>
          </p:cNvPr>
          <p:cNvSpPr/>
          <p:nvPr/>
        </p:nvSpPr>
        <p:spPr>
          <a:xfrm>
            <a:off x="7633136" y="4937741"/>
            <a:ext cx="119807" cy="119812"/>
          </a:xfrm>
          <a:custGeom>
            <a:avLst/>
            <a:gdLst>
              <a:gd name="csX0" fmla="*/ 0 w 119807"/>
              <a:gd name="csY0" fmla="*/ 119812 h 119812"/>
              <a:gd name="csX1" fmla="*/ 119807 w 119807"/>
              <a:gd name="csY1" fmla="*/ 119812 h 119812"/>
              <a:gd name="csX2" fmla="*/ 119807 w 119807"/>
              <a:gd name="csY2" fmla="*/ 0 h 119812"/>
            </a:gdLst>
            <a:ahLst/>
            <a:cxnLst>
              <a:cxn ang="0">
                <a:pos x="csX0" y="csY0"/>
              </a:cxn>
              <a:cxn ang="0">
                <a:pos x="csX1" y="csY1"/>
              </a:cxn>
              <a:cxn ang="0">
                <a:pos x="csX2" y="csY2"/>
              </a:cxn>
            </a:cxnLst>
            <a:rect l="l" t="t" r="r" b="b"/>
            <a:pathLst>
              <a:path w="119807" h="119812">
                <a:moveTo>
                  <a:pt x="0" y="119812"/>
                </a:moveTo>
                <a:lnTo>
                  <a:pt x="119807" y="119812"/>
                </a:lnTo>
                <a:lnTo>
                  <a:pt x="119807" y="0"/>
                </a:lnTo>
              </a:path>
            </a:pathLst>
          </a:custGeom>
          <a:noFill/>
          <a:ln w="55245" cap="sq">
            <a:solidFill>
              <a:srgbClr val="93AEC9"/>
            </a:solidFill>
            <a:prstDash val="solid"/>
            <a:round/>
          </a:ln>
        </p:spPr>
        <p:txBody>
          <a:bodyPr/>
          <a:lstStyle/>
          <a:p>
            <a:endParaRPr lang="en-US"/>
          </a:p>
        </p:txBody>
      </p:sp>
      <p:sp>
        <p:nvSpPr>
          <p:cNvPr id="54" name="Tijdelijke aanduiding voor tekst 5">
            <a:extLst>
              <a:ext uri="{FF2B5EF4-FFF2-40B4-BE49-F238E27FC236}">
                <a16:creationId xmlns:a16="http://schemas.microsoft.com/office/drawing/2014/main" id="{E01AE2F0-83C7-6D19-73C3-0C118895BEBD}"/>
              </a:ext>
            </a:extLst>
          </p:cNvPr>
          <p:cNvSpPr txBox="1"/>
          <p:nvPr/>
        </p:nvSpPr>
        <p:spPr>
          <a:xfrm>
            <a:off x="8155901" y="5594561"/>
            <a:ext cx="3304577"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US">
                <a:solidFill>
                  <a:schemeClr val="tx1"/>
                </a:solidFill>
              </a:rPr>
              <a:t>Accessibility barriers</a:t>
            </a:r>
            <a:endParaRPr lang="en-GB">
              <a:solidFill>
                <a:schemeClr val="tx1"/>
              </a:solidFill>
            </a:endParaRPr>
          </a:p>
        </p:txBody>
      </p:sp>
      <p:sp>
        <p:nvSpPr>
          <p:cNvPr id="58" name="Oval 57">
            <a:extLst>
              <a:ext uri="{FF2B5EF4-FFF2-40B4-BE49-F238E27FC236}">
                <a16:creationId xmlns:a16="http://schemas.microsoft.com/office/drawing/2014/main" id="{9F724CF3-0ACF-4AB5-0C4B-C0154433B05E}"/>
              </a:ext>
            </a:extLst>
          </p:cNvPr>
          <p:cNvSpPr/>
          <p:nvPr/>
        </p:nvSpPr>
        <p:spPr>
          <a:xfrm>
            <a:off x="7074007" y="1600093"/>
            <a:ext cx="426054" cy="426054"/>
          </a:xfrm>
          <a:prstGeom prst="ellipse">
            <a:avLst/>
          </a:prstGeom>
          <a:solidFill>
            <a:srgbClr val="93AEC9"/>
          </a:solidFill>
          <a:ln w="6477" cap="flat">
            <a:noFill/>
            <a:prstDash val="solid"/>
            <a:miter/>
          </a:ln>
        </p:spPr>
        <p:txBody>
          <a:bodyPr/>
          <a:lstStyle/>
          <a:p>
            <a:endParaRPr lang="en-US"/>
          </a:p>
        </p:txBody>
      </p:sp>
      <p:sp>
        <p:nvSpPr>
          <p:cNvPr id="59" name="Oval 58">
            <a:extLst>
              <a:ext uri="{FF2B5EF4-FFF2-40B4-BE49-F238E27FC236}">
                <a16:creationId xmlns:a16="http://schemas.microsoft.com/office/drawing/2014/main" id="{E527D213-3A27-4043-C7E3-B5D3E6235DB8}"/>
              </a:ext>
            </a:extLst>
          </p:cNvPr>
          <p:cNvSpPr/>
          <p:nvPr/>
        </p:nvSpPr>
        <p:spPr>
          <a:xfrm>
            <a:off x="7396266" y="1784241"/>
            <a:ext cx="426054" cy="426054"/>
          </a:xfrm>
          <a:prstGeom prst="ellipse">
            <a:avLst/>
          </a:prstGeom>
          <a:solidFill>
            <a:schemeClr val="accent1"/>
          </a:solidFill>
          <a:ln w="6477" cap="flat">
            <a:noFill/>
            <a:prstDash val="solid"/>
            <a:miter/>
          </a:ln>
        </p:spPr>
        <p:txBody>
          <a:bodyPr/>
          <a:lstStyle/>
          <a:p>
            <a:endParaRPr lang="en-US"/>
          </a:p>
        </p:txBody>
      </p:sp>
      <p:sp>
        <p:nvSpPr>
          <p:cNvPr id="60" name="Oval 59">
            <a:extLst>
              <a:ext uri="{FF2B5EF4-FFF2-40B4-BE49-F238E27FC236}">
                <a16:creationId xmlns:a16="http://schemas.microsoft.com/office/drawing/2014/main" id="{6E9DF943-E656-9E75-5E3D-342CA6F23B12}"/>
              </a:ext>
            </a:extLst>
          </p:cNvPr>
          <p:cNvSpPr/>
          <p:nvPr/>
        </p:nvSpPr>
        <p:spPr>
          <a:xfrm>
            <a:off x="7199824" y="1749925"/>
            <a:ext cx="46037" cy="46037"/>
          </a:xfrm>
          <a:prstGeom prst="ellipse">
            <a:avLst/>
          </a:prstGeom>
          <a:solidFill>
            <a:srgbClr val="FFFFFF"/>
          </a:solidFill>
          <a:ln w="4858" cap="flat">
            <a:solidFill>
              <a:srgbClr val="FFFFFF"/>
            </a:solidFill>
            <a:prstDash val="solid"/>
            <a:miter/>
          </a:ln>
        </p:spPr>
        <p:txBody>
          <a:bodyPr/>
          <a:lstStyle/>
          <a:p>
            <a:endParaRPr lang="en-US"/>
          </a:p>
        </p:txBody>
      </p:sp>
      <p:sp>
        <p:nvSpPr>
          <p:cNvPr id="61" name="Oval 60">
            <a:extLst>
              <a:ext uri="{FF2B5EF4-FFF2-40B4-BE49-F238E27FC236}">
                <a16:creationId xmlns:a16="http://schemas.microsoft.com/office/drawing/2014/main" id="{FB6BA3DF-EFBF-5A4B-2898-48CF09980F07}"/>
              </a:ext>
            </a:extLst>
          </p:cNvPr>
          <p:cNvSpPr/>
          <p:nvPr/>
        </p:nvSpPr>
        <p:spPr>
          <a:xfrm>
            <a:off x="7337936" y="1749925"/>
            <a:ext cx="46037" cy="46037"/>
          </a:xfrm>
          <a:prstGeom prst="ellipse">
            <a:avLst/>
          </a:prstGeom>
          <a:solidFill>
            <a:srgbClr val="FFFFFF"/>
          </a:solidFill>
          <a:ln w="4858" cap="flat">
            <a:solidFill>
              <a:srgbClr val="FFFFFF"/>
            </a:solidFill>
            <a:prstDash val="solid"/>
            <a:miter/>
          </a:ln>
        </p:spPr>
        <p:txBody>
          <a:bodyPr/>
          <a:lstStyle/>
          <a:p>
            <a:endParaRPr lang="en-US"/>
          </a:p>
        </p:txBody>
      </p:sp>
      <p:sp>
        <p:nvSpPr>
          <p:cNvPr id="62" name="Freeform: Shape 61">
            <a:extLst>
              <a:ext uri="{FF2B5EF4-FFF2-40B4-BE49-F238E27FC236}">
                <a16:creationId xmlns:a16="http://schemas.microsoft.com/office/drawing/2014/main" id="{98F66006-C406-B709-6F75-3794A26A55A3}"/>
              </a:ext>
            </a:extLst>
          </p:cNvPr>
          <p:cNvSpPr/>
          <p:nvPr/>
        </p:nvSpPr>
        <p:spPr>
          <a:xfrm>
            <a:off x="7222843" y="1882385"/>
            <a:ext cx="132813" cy="31286"/>
          </a:xfrm>
          <a:custGeom>
            <a:avLst/>
            <a:gdLst>
              <a:gd name="csX0" fmla="*/ 0 w 132813"/>
              <a:gd name="csY0" fmla="*/ 31287 h 31286"/>
              <a:gd name="csX1" fmla="*/ 132814 w 132813"/>
              <a:gd name="csY1" fmla="*/ 31287 h 31286"/>
            </a:gdLst>
            <a:ahLst/>
            <a:cxnLst>
              <a:cxn ang="0">
                <a:pos x="csX0" y="csY0"/>
              </a:cxn>
              <a:cxn ang="0">
                <a:pos x="csX1" y="csY1"/>
              </a:cxn>
            </a:cxnLst>
            <a:rect l="l" t="t" r="r" b="b"/>
            <a:pathLst>
              <a:path w="132813" h="31286">
                <a:moveTo>
                  <a:pt x="0" y="31287"/>
                </a:moveTo>
                <a:cubicBezTo>
                  <a:pt x="0" y="31287"/>
                  <a:pt x="62418" y="-39109"/>
                  <a:pt x="132814" y="31287"/>
                </a:cubicBezTo>
              </a:path>
            </a:pathLst>
          </a:custGeom>
          <a:noFill/>
          <a:ln w="51816" cap="flat">
            <a:solidFill>
              <a:srgbClr val="FFFFFF"/>
            </a:solidFill>
            <a:prstDash val="solid"/>
            <a:miter/>
          </a:ln>
        </p:spPr>
        <p:txBody>
          <a:bodyPr/>
          <a:lstStyle/>
          <a:p>
            <a:endParaRPr lang="en-US"/>
          </a:p>
        </p:txBody>
      </p:sp>
      <p:sp>
        <p:nvSpPr>
          <p:cNvPr id="63" name="Oval 62">
            <a:extLst>
              <a:ext uri="{FF2B5EF4-FFF2-40B4-BE49-F238E27FC236}">
                <a16:creationId xmlns:a16="http://schemas.microsoft.com/office/drawing/2014/main" id="{616FCB92-1244-C0DD-52E0-55A7209D0026}"/>
              </a:ext>
            </a:extLst>
          </p:cNvPr>
          <p:cNvSpPr/>
          <p:nvPr/>
        </p:nvSpPr>
        <p:spPr>
          <a:xfrm>
            <a:off x="7522084" y="1934073"/>
            <a:ext cx="46037" cy="46037"/>
          </a:xfrm>
          <a:prstGeom prst="ellipse">
            <a:avLst/>
          </a:prstGeom>
          <a:solidFill>
            <a:srgbClr val="FFFFFF"/>
          </a:solidFill>
          <a:ln w="4858" cap="flat">
            <a:solidFill>
              <a:srgbClr val="FFFFFF"/>
            </a:solidFill>
            <a:prstDash val="solid"/>
            <a:miter/>
          </a:ln>
        </p:spPr>
        <p:txBody>
          <a:bodyPr/>
          <a:lstStyle/>
          <a:p>
            <a:endParaRPr lang="en-US"/>
          </a:p>
        </p:txBody>
      </p:sp>
      <p:sp>
        <p:nvSpPr>
          <p:cNvPr id="64" name="Oval 63">
            <a:extLst>
              <a:ext uri="{FF2B5EF4-FFF2-40B4-BE49-F238E27FC236}">
                <a16:creationId xmlns:a16="http://schemas.microsoft.com/office/drawing/2014/main" id="{653C277B-767F-9724-D256-02A7A9418618}"/>
              </a:ext>
            </a:extLst>
          </p:cNvPr>
          <p:cNvSpPr/>
          <p:nvPr/>
        </p:nvSpPr>
        <p:spPr>
          <a:xfrm>
            <a:off x="7660195" y="1934073"/>
            <a:ext cx="46037" cy="46037"/>
          </a:xfrm>
          <a:prstGeom prst="ellipse">
            <a:avLst/>
          </a:prstGeom>
          <a:solidFill>
            <a:srgbClr val="FFFFFF"/>
          </a:solidFill>
          <a:ln w="4858" cap="flat">
            <a:solidFill>
              <a:srgbClr val="FFFFFF"/>
            </a:solidFill>
            <a:prstDash val="solid"/>
            <a:miter/>
          </a:ln>
        </p:spPr>
        <p:txBody>
          <a:bodyPr/>
          <a:lstStyle/>
          <a:p>
            <a:endParaRPr lang="en-US"/>
          </a:p>
        </p:txBody>
      </p:sp>
      <p:sp>
        <p:nvSpPr>
          <p:cNvPr id="65" name="Freeform: Shape 64">
            <a:extLst>
              <a:ext uri="{FF2B5EF4-FFF2-40B4-BE49-F238E27FC236}">
                <a16:creationId xmlns:a16="http://schemas.microsoft.com/office/drawing/2014/main" id="{FC52AD36-7D40-5E17-5967-FCC53FD44759}"/>
              </a:ext>
            </a:extLst>
          </p:cNvPr>
          <p:cNvSpPr/>
          <p:nvPr/>
        </p:nvSpPr>
        <p:spPr>
          <a:xfrm>
            <a:off x="7535557" y="2066533"/>
            <a:ext cx="152042" cy="31286"/>
          </a:xfrm>
          <a:custGeom>
            <a:avLst/>
            <a:gdLst>
              <a:gd name="csX0" fmla="*/ 0 w 152042"/>
              <a:gd name="csY0" fmla="*/ 0 h 31286"/>
              <a:gd name="csX1" fmla="*/ 152042 w 152042"/>
              <a:gd name="csY1" fmla="*/ 0 h 31286"/>
            </a:gdLst>
            <a:ahLst/>
            <a:cxnLst>
              <a:cxn ang="0">
                <a:pos x="csX0" y="csY0"/>
              </a:cxn>
              <a:cxn ang="0">
                <a:pos x="csX1" y="csY1"/>
              </a:cxn>
            </a:cxnLst>
            <a:rect l="l" t="t" r="r" b="b"/>
            <a:pathLst>
              <a:path w="152042" h="31286">
                <a:moveTo>
                  <a:pt x="0" y="0"/>
                </a:moveTo>
                <a:cubicBezTo>
                  <a:pt x="0" y="0"/>
                  <a:pt x="71455" y="70396"/>
                  <a:pt x="152042" y="0"/>
                </a:cubicBezTo>
              </a:path>
            </a:pathLst>
          </a:custGeom>
          <a:noFill/>
          <a:ln w="51816" cap="flat">
            <a:solidFill>
              <a:srgbClr val="FFFFFF"/>
            </a:solidFill>
            <a:prstDash val="solid"/>
            <a:miter/>
          </a:ln>
        </p:spPr>
        <p:txBody>
          <a:bodyPr/>
          <a:lstStyle/>
          <a:p>
            <a:endParaRPr lang="en-US"/>
          </a:p>
        </p:txBody>
      </p:sp>
    </p:spTree>
    <p:custDataLst>
      <p:tags r:id="rId1"/>
    </p:custDataLst>
    <p:extLst>
      <p:ext uri="{BB962C8B-B14F-4D97-AF65-F5344CB8AC3E}">
        <p14:creationId xmlns:p14="http://schemas.microsoft.com/office/powerpoint/2010/main" val="410195441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0">
                                            <p:txEl>
                                              <p:pRg st="0" end="0"/>
                                            </p:txEl>
                                          </p:spTgt>
                                        </p:tgtEl>
                                        <p:attrNameLst>
                                          <p:attrName>style.visibility</p:attrName>
                                        </p:attrNameLst>
                                      </p:cBhvr>
                                      <p:to>
                                        <p:strVal val="visible"/>
                                      </p:to>
                                    </p:set>
                                    <p:animEffect transition="in" filter="fade">
                                      <p:cBhvr>
                                        <p:cTn id="10" dur="500"/>
                                        <p:tgtEl>
                                          <p:spTgt spid="10">
                                            <p:txEl>
                                              <p:pRg st="0" end="0"/>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0" end="0"/>
                                            </p:txEl>
                                          </p:spTgt>
                                        </p:tgtEl>
                                        <p:attrNameLst>
                                          <p:attrName>style.visibility</p:attrName>
                                        </p:attrNameLst>
                                      </p:cBhvr>
                                      <p:to>
                                        <p:strVal val="visible"/>
                                      </p:to>
                                    </p:set>
                                    <p:animEffect transition="in" filter="fade">
                                      <p:cBhvr>
                                        <p:cTn id="13" dur="500"/>
                                        <p:tgtEl>
                                          <p:spTgt spid="2">
                                            <p:txEl>
                                              <p:pRg st="0" end="0"/>
                                            </p:txEl>
                                          </p:spTgt>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7">
                                            <p:txEl>
                                              <p:pRg st="0" end="0"/>
                                            </p:txEl>
                                          </p:spTgt>
                                        </p:tgtEl>
                                        <p:attrNameLst>
                                          <p:attrName>style.visibility</p:attrName>
                                        </p:attrNameLst>
                                      </p:cBhvr>
                                      <p:to>
                                        <p:strVal val="visible"/>
                                      </p:to>
                                    </p:set>
                                    <p:animEffect transition="in" filter="fade">
                                      <p:cBhvr>
                                        <p:cTn id="16" dur="500"/>
                                        <p:tgtEl>
                                          <p:spTgt spid="7">
                                            <p:txEl>
                                              <p:pRg st="0" end="0"/>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22">
                                            <p:txEl>
                                              <p:pRg st="0" end="0"/>
                                            </p:txEl>
                                          </p:spTgt>
                                        </p:tgtEl>
                                        <p:attrNameLst>
                                          <p:attrName>style.visibility</p:attrName>
                                        </p:attrNameLst>
                                      </p:cBhvr>
                                      <p:to>
                                        <p:strVal val="visible"/>
                                      </p:to>
                                    </p:set>
                                    <p:animEffect transition="in" filter="fade">
                                      <p:cBhvr>
                                        <p:cTn id="19" dur="500"/>
                                        <p:tgtEl>
                                          <p:spTgt spid="22">
                                            <p:txEl>
                                              <p:pRg st="0" end="0"/>
                                            </p:txEl>
                                          </p:spTgt>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34">
                                            <p:txEl>
                                              <p:pRg st="0" end="0"/>
                                            </p:txEl>
                                          </p:spTgt>
                                        </p:tgtEl>
                                        <p:attrNameLst>
                                          <p:attrName>style.visibility</p:attrName>
                                        </p:attrNameLst>
                                      </p:cBhvr>
                                      <p:to>
                                        <p:strVal val="visible"/>
                                      </p:to>
                                    </p:set>
                                    <p:animEffect transition="in" filter="fade">
                                      <p:cBhvr>
                                        <p:cTn id="22" dur="500"/>
                                        <p:tgtEl>
                                          <p:spTgt spid="34">
                                            <p:txEl>
                                              <p:pRg st="0" end="0"/>
                                            </p:txEl>
                                          </p:spTgt>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54">
                                            <p:txEl>
                                              <p:pRg st="0" end="0"/>
                                            </p:txEl>
                                          </p:spTgt>
                                        </p:tgtEl>
                                        <p:attrNameLst>
                                          <p:attrName>style.visibility</p:attrName>
                                        </p:attrNameLst>
                                      </p:cBhvr>
                                      <p:to>
                                        <p:strVal val="visible"/>
                                      </p:to>
                                    </p:set>
                                    <p:animEffect transition="in" filter="fade">
                                      <p:cBhvr>
                                        <p:cTn id="25" dur="500"/>
                                        <p:tgtEl>
                                          <p:spTgt spid="5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10" grpId="0" build="p"/>
      <p:bldP spid="2" grpId="0" build="p"/>
      <p:bldP spid="7" grpId="0" build="p"/>
      <p:bldP spid="22" grpId="0" build="p"/>
      <p:bldP spid="34" grpId="0" build="p"/>
      <p:bldP spid="54"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690D4-383A-0F75-E727-E91004107E64}"/>
            </a:ext>
          </a:extLst>
        </p:cNvPr>
        <p:cNvGrpSpPr/>
        <p:nvPr/>
      </p:nvGrpSpPr>
      <p:grpSpPr>
        <a:xfrm>
          <a:off x="0" y="0"/>
          <a:ext cx="0" cy="0"/>
          <a:chOff x="0" y="0"/>
          <a:chExt cx="0" cy="0"/>
        </a:xfrm>
      </p:grpSpPr>
      <p:grpSp>
        <p:nvGrpSpPr>
          <p:cNvPr id="30" name="!!VORM">
            <a:extLst>
              <a:ext uri="{FF2B5EF4-FFF2-40B4-BE49-F238E27FC236}">
                <a16:creationId xmlns:a16="http://schemas.microsoft.com/office/drawing/2014/main" id="{79B8B650-0773-B12F-A660-C506CB9DE4C8}"/>
              </a:ext>
            </a:extLst>
          </p:cNvPr>
          <p:cNvGrpSpPr/>
          <p:nvPr/>
        </p:nvGrpSpPr>
        <p:grpSpPr>
          <a:xfrm>
            <a:off x="-2637331" y="0"/>
            <a:ext cx="8373762" cy="6858000"/>
            <a:chOff x="3818239" y="-1"/>
            <a:chExt cx="8373762" cy="6857999"/>
          </a:xfrm>
        </p:grpSpPr>
        <p:sp>
          <p:nvSpPr>
            <p:cNvPr id="19" name="Rechthoek 18">
              <a:extLst>
                <a:ext uri="{FF2B5EF4-FFF2-40B4-BE49-F238E27FC236}">
                  <a16:creationId xmlns:a16="http://schemas.microsoft.com/office/drawing/2014/main" id="{965CBC5D-FB66-D9AB-DA7C-C820D3BEF315}"/>
                </a:ext>
              </a:extLst>
            </p:cNvPr>
            <p:cNvSpPr/>
            <p:nvPr/>
          </p:nvSpPr>
          <p:spPr>
            <a:xfrm>
              <a:off x="3818239" y="-1"/>
              <a:ext cx="8373761" cy="6857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err="1"/>
            </a:p>
          </p:txBody>
        </p:sp>
        <p:sp>
          <p:nvSpPr>
            <p:cNvPr id="29" name="Vrije vorm 28">
              <a:extLst>
                <a:ext uri="{FF2B5EF4-FFF2-40B4-BE49-F238E27FC236}">
                  <a16:creationId xmlns:a16="http://schemas.microsoft.com/office/drawing/2014/main" id="{45859FE1-5DDF-1E9D-16A3-D0DCA203F7D2}"/>
                </a:ext>
              </a:extLst>
            </p:cNvPr>
            <p:cNvSpPr>
              <a:spLocks/>
            </p:cNvSpPr>
            <p:nvPr/>
          </p:nvSpPr>
          <p:spPr>
            <a:xfrm>
              <a:off x="3818240" y="-1"/>
              <a:ext cx="8373761"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err="1"/>
            </a:p>
          </p:txBody>
        </p:sp>
      </p:grpSp>
      <p:sp>
        <p:nvSpPr>
          <p:cNvPr id="13" name="Titel 12">
            <a:extLst>
              <a:ext uri="{FF2B5EF4-FFF2-40B4-BE49-F238E27FC236}">
                <a16:creationId xmlns:a16="http://schemas.microsoft.com/office/drawing/2014/main" id="{36DA751E-9FBC-C293-B5DD-60019809DD30}"/>
              </a:ext>
            </a:extLst>
          </p:cNvPr>
          <p:cNvSpPr>
            <a:spLocks noGrp="1"/>
          </p:cNvSpPr>
          <p:nvPr>
            <p:ph type="title"/>
          </p:nvPr>
        </p:nvSpPr>
        <p:spPr/>
        <p:txBody>
          <a:bodyPr/>
          <a:lstStyle/>
          <a:p>
            <a:r>
              <a:rPr lang="en-GB"/>
              <a:t>Chapter | dark mode</a:t>
            </a:r>
          </a:p>
        </p:txBody>
      </p:sp>
      <p:sp>
        <p:nvSpPr>
          <p:cNvPr id="11" name="Tijdelijke aanduiding voor dianummer 10">
            <a:extLst>
              <a:ext uri="{FF2B5EF4-FFF2-40B4-BE49-F238E27FC236}">
                <a16:creationId xmlns:a16="http://schemas.microsoft.com/office/drawing/2014/main" id="{CA527D46-0FF7-779D-CD93-87BCF9D2FB02}"/>
              </a:ext>
            </a:extLst>
          </p:cNvPr>
          <p:cNvSpPr>
            <a:spLocks noGrp="1"/>
          </p:cNvSpPr>
          <p:nvPr>
            <p:ph type="sldNum" sz="quarter" idx="12"/>
          </p:nvPr>
        </p:nvSpPr>
        <p:spPr/>
        <p:txBody>
          <a:bodyPr/>
          <a:lstStyle/>
          <a:p>
            <a:fld id="{9E843DB9-9987-4157-AB9C-CEA8D7D910BB}" type="slidenum">
              <a:rPr lang="en-GB" smtClean="0"/>
              <a:pPr/>
              <a:t>9</a:t>
            </a:fld>
            <a:endParaRPr lang="en-GB"/>
          </a:p>
        </p:txBody>
      </p:sp>
      <p:sp>
        <p:nvSpPr>
          <p:cNvPr id="2" name="Rechthoek 1">
            <a:extLst>
              <a:ext uri="{FF2B5EF4-FFF2-40B4-BE49-F238E27FC236}">
                <a16:creationId xmlns:a16="http://schemas.microsoft.com/office/drawing/2014/main" id="{62F88BA8-AF08-4419-FC30-7A35F7395825}"/>
              </a:ext>
            </a:extLst>
          </p:cNvPr>
          <p:cNvSpPr>
            <a:spLocks/>
          </p:cNvSpPr>
          <p:nvPr/>
        </p:nvSpPr>
        <p:spPr>
          <a:xfrm>
            <a:off x="719138" y="2249377"/>
            <a:ext cx="5609281" cy="29414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err="1"/>
          </a:p>
        </p:txBody>
      </p:sp>
      <p:sp>
        <p:nvSpPr>
          <p:cNvPr id="7" name="Tijdelijke aanduiding voor tekst 3">
            <a:extLst>
              <a:ext uri="{FF2B5EF4-FFF2-40B4-BE49-F238E27FC236}">
                <a16:creationId xmlns:a16="http://schemas.microsoft.com/office/drawing/2014/main" id="{114D9D01-AF17-8C24-D658-AB8C1C4423AA}"/>
              </a:ext>
            </a:extLst>
          </p:cNvPr>
          <p:cNvSpPr txBox="1">
            <a:spLocks/>
          </p:cNvSpPr>
          <p:nvPr/>
        </p:nvSpPr>
        <p:spPr>
          <a:xfrm>
            <a:off x="1184679" y="2498732"/>
            <a:ext cx="5288703" cy="666849"/>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a:latin typeface="Arial" panose="020B0604020202020204" pitchFamily="34" charset="0"/>
                <a:cs typeface="Arial" panose="020B0604020202020204" pitchFamily="34" charset="0"/>
              </a:rPr>
              <a:t>Privacy</a:t>
            </a:r>
          </a:p>
        </p:txBody>
      </p:sp>
      <p:sp>
        <p:nvSpPr>
          <p:cNvPr id="9" name="Tijdelijke aanduiding voor tekst 5">
            <a:extLst>
              <a:ext uri="{FF2B5EF4-FFF2-40B4-BE49-F238E27FC236}">
                <a16:creationId xmlns:a16="http://schemas.microsoft.com/office/drawing/2014/main" id="{57591BE5-9621-F9B3-D1DF-FD219407AABE}"/>
              </a:ext>
            </a:extLst>
          </p:cNvPr>
          <p:cNvSpPr txBox="1">
            <a:spLocks/>
          </p:cNvSpPr>
          <p:nvPr/>
        </p:nvSpPr>
        <p:spPr>
          <a:xfrm>
            <a:off x="1184679" y="3436467"/>
            <a:ext cx="4107757" cy="1483483"/>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pPr marL="342900" indent="-342900">
              <a:buClr>
                <a:schemeClr val="bg1"/>
              </a:buClr>
              <a:buSzPct val="130000"/>
              <a:buFont typeface="Arial" panose="020B0604020202020204" pitchFamily="34" charset="0"/>
              <a:buChar char="•"/>
            </a:pPr>
            <a:r>
              <a:rPr lang="en-US"/>
              <a:t>Control over accessibility and visibility to others </a:t>
            </a:r>
          </a:p>
          <a:p>
            <a:pPr marL="342900" indent="-342900">
              <a:buClr>
                <a:schemeClr val="bg1"/>
              </a:buClr>
              <a:buSzPct val="130000"/>
              <a:buFont typeface="Arial" panose="020B0604020202020204" pitchFamily="34" charset="0"/>
              <a:buChar char="•"/>
            </a:pPr>
            <a:r>
              <a:rPr lang="en-US"/>
              <a:t>Control over information about oneself</a:t>
            </a:r>
            <a:endParaRPr lang="en-GB"/>
          </a:p>
        </p:txBody>
      </p:sp>
      <p:sp>
        <p:nvSpPr>
          <p:cNvPr id="16" name="Tijdelijke aanduiding voor tekst 5">
            <a:extLst>
              <a:ext uri="{FF2B5EF4-FFF2-40B4-BE49-F238E27FC236}">
                <a16:creationId xmlns:a16="http://schemas.microsoft.com/office/drawing/2014/main" id="{9B861DC5-E8CE-54F2-E2B4-ED8B5E69FA24}"/>
              </a:ext>
            </a:extLst>
          </p:cNvPr>
          <p:cNvSpPr txBox="1"/>
          <p:nvPr/>
        </p:nvSpPr>
        <p:spPr>
          <a:xfrm>
            <a:off x="8155903" y="4569323"/>
            <a:ext cx="3304577" cy="997196"/>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US">
                <a:solidFill>
                  <a:schemeClr val="tx1"/>
                </a:solidFill>
              </a:rPr>
              <a:t>Massive data collection and strong inference capabilities </a:t>
            </a:r>
            <a:endParaRPr lang="en-GB">
              <a:solidFill>
                <a:schemeClr val="tx1"/>
              </a:solidFill>
            </a:endParaRPr>
          </a:p>
        </p:txBody>
      </p:sp>
      <p:sp>
        <p:nvSpPr>
          <p:cNvPr id="17" name="Tijdelijke aanduiding voor tekst 5">
            <a:extLst>
              <a:ext uri="{FF2B5EF4-FFF2-40B4-BE49-F238E27FC236}">
                <a16:creationId xmlns:a16="http://schemas.microsoft.com/office/drawing/2014/main" id="{9DEA048E-4442-D76F-9905-F5CC038E90A6}"/>
              </a:ext>
            </a:extLst>
          </p:cNvPr>
          <p:cNvSpPr txBox="1"/>
          <p:nvPr/>
        </p:nvSpPr>
        <p:spPr>
          <a:xfrm>
            <a:off x="8155903" y="2577554"/>
            <a:ext cx="3548417" cy="997196"/>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a:solidFill>
                  <a:schemeClr val="tx1"/>
                </a:solidFill>
              </a:rPr>
              <a:t>Embrace where people’s everyday movement takes place in public space</a:t>
            </a:r>
          </a:p>
        </p:txBody>
      </p:sp>
      <p:pic>
        <p:nvPicPr>
          <p:cNvPr id="18" name="Graphic 17">
            <a:extLst>
              <a:ext uri="{FF2B5EF4-FFF2-40B4-BE49-F238E27FC236}">
                <a16:creationId xmlns:a16="http://schemas.microsoft.com/office/drawing/2014/main" id="{47430765-95AB-2A4C-ACD8-3CC631C09C3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06791" y="2620968"/>
            <a:ext cx="786567" cy="786567"/>
          </a:xfrm>
          <a:prstGeom prst="rect">
            <a:avLst/>
          </a:prstGeom>
        </p:spPr>
      </p:pic>
      <p:pic>
        <p:nvPicPr>
          <p:cNvPr id="20" name="Graphic 19">
            <a:extLst>
              <a:ext uri="{FF2B5EF4-FFF2-40B4-BE49-F238E27FC236}">
                <a16:creationId xmlns:a16="http://schemas.microsoft.com/office/drawing/2014/main" id="{C6BFA0AB-E389-C738-DC3A-C4FB522E2B6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67" r="67"/>
          <a:stretch/>
        </p:blipFill>
        <p:spPr>
          <a:xfrm>
            <a:off x="7107841" y="4585120"/>
            <a:ext cx="785517" cy="786567"/>
          </a:xfrm>
          <a:prstGeom prst="rect">
            <a:avLst/>
          </a:prstGeom>
        </p:spPr>
      </p:pic>
      <p:sp>
        <p:nvSpPr>
          <p:cNvPr id="21" name="Tijdelijke aanduiding voor tekst 5">
            <a:extLst>
              <a:ext uri="{FF2B5EF4-FFF2-40B4-BE49-F238E27FC236}">
                <a16:creationId xmlns:a16="http://schemas.microsoft.com/office/drawing/2014/main" id="{BD513406-87CF-0369-9387-C3840554ECC1}"/>
              </a:ext>
            </a:extLst>
          </p:cNvPr>
          <p:cNvSpPr txBox="1"/>
          <p:nvPr/>
        </p:nvSpPr>
        <p:spPr>
          <a:xfrm>
            <a:off x="6745007" y="1953922"/>
            <a:ext cx="3548417"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b="1">
                <a:solidFill>
                  <a:schemeClr val="tx1"/>
                </a:solidFill>
              </a:rPr>
              <a:t>Road Transport Systems:</a:t>
            </a:r>
          </a:p>
        </p:txBody>
      </p:sp>
      <p:sp>
        <p:nvSpPr>
          <p:cNvPr id="22" name="Tijdelijke aanduiding voor tekst 5">
            <a:extLst>
              <a:ext uri="{FF2B5EF4-FFF2-40B4-BE49-F238E27FC236}">
                <a16:creationId xmlns:a16="http://schemas.microsoft.com/office/drawing/2014/main" id="{FA573EBF-C34A-69CA-2726-53C552E73221}"/>
              </a:ext>
            </a:extLst>
          </p:cNvPr>
          <p:cNvSpPr txBox="1"/>
          <p:nvPr/>
        </p:nvSpPr>
        <p:spPr>
          <a:xfrm>
            <a:off x="6745006" y="4004589"/>
            <a:ext cx="3548417"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b="1">
                <a:solidFill>
                  <a:schemeClr val="tx1"/>
                </a:solidFill>
              </a:rPr>
              <a:t>AI Systems:</a:t>
            </a:r>
          </a:p>
        </p:txBody>
      </p:sp>
    </p:spTree>
    <p:custDataLst>
      <p:tags r:id="rId1"/>
    </p:custDataLst>
    <p:extLst>
      <p:ext uri="{BB962C8B-B14F-4D97-AF65-F5344CB8AC3E}">
        <p14:creationId xmlns:p14="http://schemas.microsoft.com/office/powerpoint/2010/main" val="174525761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7">
                                            <p:txEl>
                                              <p:pRg st="0" end="0"/>
                                            </p:txEl>
                                          </p:spTgt>
                                        </p:tgtEl>
                                        <p:attrNameLst>
                                          <p:attrName>style.visibility</p:attrName>
                                        </p:attrNameLst>
                                      </p:cBhvr>
                                      <p:to>
                                        <p:strVal val="visible"/>
                                      </p:to>
                                    </p:set>
                                    <p:animEffect transition="in" filter="fade">
                                      <p:cBhvr>
                                        <p:cTn id="10" dur="500"/>
                                        <p:tgtEl>
                                          <p:spTgt spid="17">
                                            <p:txEl>
                                              <p:pRg st="0" end="0"/>
                                            </p:txEl>
                                          </p:spTgt>
                                        </p:tgtEl>
                                      </p:cBhvr>
                                    </p:animEffect>
                                  </p:childTnLst>
                                </p:cTn>
                              </p:par>
                              <p:par>
                                <p:cTn id="11" presetID="55" presetClass="entr" presetSubtype="0" fill="hold" nodeType="withEffect">
                                  <p:stCondLst>
                                    <p:cond delay="750"/>
                                  </p:stCondLst>
                                  <p:childTnLst>
                                    <p:set>
                                      <p:cBhvr>
                                        <p:cTn id="12" dur="1" fill="hold">
                                          <p:stCondLst>
                                            <p:cond delay="0"/>
                                          </p:stCondLst>
                                        </p:cTn>
                                        <p:tgtEl>
                                          <p:spTgt spid="18"/>
                                        </p:tgtEl>
                                        <p:attrNameLst>
                                          <p:attrName>style.visibility</p:attrName>
                                        </p:attrNameLst>
                                      </p:cBhvr>
                                      <p:to>
                                        <p:strVal val="visible"/>
                                      </p:to>
                                    </p:set>
                                    <p:anim calcmode="lin" valueType="num">
                                      <p:cBhvr>
                                        <p:cTn id="13" dur="500" fill="hold"/>
                                        <p:tgtEl>
                                          <p:spTgt spid="18"/>
                                        </p:tgtEl>
                                        <p:attrNameLst>
                                          <p:attrName>ppt_w</p:attrName>
                                        </p:attrNameLst>
                                      </p:cBhvr>
                                      <p:tavLst>
                                        <p:tav tm="0">
                                          <p:val>
                                            <p:strVal val="#ppt_w*0.70"/>
                                          </p:val>
                                        </p:tav>
                                        <p:tav tm="100000">
                                          <p:val>
                                            <p:strVal val="#ppt_w"/>
                                          </p:val>
                                        </p:tav>
                                      </p:tavLst>
                                    </p:anim>
                                    <p:anim calcmode="lin" valueType="num">
                                      <p:cBhvr>
                                        <p:cTn id="14" dur="500" fill="hold"/>
                                        <p:tgtEl>
                                          <p:spTgt spid="18"/>
                                        </p:tgtEl>
                                        <p:attrNameLst>
                                          <p:attrName>ppt_h</p:attrName>
                                        </p:attrNameLst>
                                      </p:cBhvr>
                                      <p:tavLst>
                                        <p:tav tm="0">
                                          <p:val>
                                            <p:strVal val="#ppt_h"/>
                                          </p:val>
                                        </p:tav>
                                        <p:tav tm="100000">
                                          <p:val>
                                            <p:strVal val="#ppt_h"/>
                                          </p:val>
                                        </p:tav>
                                      </p:tavLst>
                                    </p:anim>
                                    <p:animEffect transition="in" filter="fade">
                                      <p:cBhvr>
                                        <p:cTn id="15" dur="500"/>
                                        <p:tgtEl>
                                          <p:spTgt spid="18"/>
                                        </p:tgtEl>
                                      </p:cBhvr>
                                    </p:animEffect>
                                  </p:childTnLst>
                                </p:cTn>
                              </p:par>
                              <p:par>
                                <p:cTn id="16" presetID="55" presetClass="entr" presetSubtype="0" fill="hold" nodeType="withEffect">
                                  <p:stCondLst>
                                    <p:cond delay="1250"/>
                                  </p:stCondLst>
                                  <p:childTnLst>
                                    <p:set>
                                      <p:cBhvr>
                                        <p:cTn id="17" dur="1" fill="hold">
                                          <p:stCondLst>
                                            <p:cond delay="0"/>
                                          </p:stCondLst>
                                        </p:cTn>
                                        <p:tgtEl>
                                          <p:spTgt spid="20"/>
                                        </p:tgtEl>
                                        <p:attrNameLst>
                                          <p:attrName>style.visibility</p:attrName>
                                        </p:attrNameLst>
                                      </p:cBhvr>
                                      <p:to>
                                        <p:strVal val="visible"/>
                                      </p:to>
                                    </p:set>
                                    <p:anim calcmode="lin" valueType="num">
                                      <p:cBhvr>
                                        <p:cTn id="18" dur="500" fill="hold"/>
                                        <p:tgtEl>
                                          <p:spTgt spid="20"/>
                                        </p:tgtEl>
                                        <p:attrNameLst>
                                          <p:attrName>ppt_w</p:attrName>
                                        </p:attrNameLst>
                                      </p:cBhvr>
                                      <p:tavLst>
                                        <p:tav tm="0">
                                          <p:val>
                                            <p:strVal val="#ppt_w*0.70"/>
                                          </p:val>
                                        </p:tav>
                                        <p:tav tm="100000">
                                          <p:val>
                                            <p:strVal val="#ppt_w"/>
                                          </p:val>
                                        </p:tav>
                                      </p:tavLst>
                                    </p:anim>
                                    <p:anim calcmode="lin" valueType="num">
                                      <p:cBhvr>
                                        <p:cTn id="19" dur="500" fill="hold"/>
                                        <p:tgtEl>
                                          <p:spTgt spid="20"/>
                                        </p:tgtEl>
                                        <p:attrNameLst>
                                          <p:attrName>ppt_h</p:attrName>
                                        </p:attrNameLst>
                                      </p:cBhvr>
                                      <p:tavLst>
                                        <p:tav tm="0">
                                          <p:val>
                                            <p:strVal val="#ppt_h"/>
                                          </p:val>
                                        </p:tav>
                                        <p:tav tm="100000">
                                          <p:val>
                                            <p:strVal val="#ppt_h"/>
                                          </p:val>
                                        </p:tav>
                                      </p:tavLst>
                                    </p:anim>
                                    <p:animEffect transition="in" filter="fade">
                                      <p:cBhvr>
                                        <p:cTn id="20" dur="500"/>
                                        <p:tgtEl>
                                          <p:spTgt spid="20"/>
                                        </p:tgtEl>
                                      </p:cBhvr>
                                    </p:animEffect>
                                  </p:childTnLst>
                                </p:cTn>
                              </p:par>
                              <p:par>
                                <p:cTn id="21" presetID="10" presetClass="entr" presetSubtype="0" fill="hold" grpId="0" nodeType="withEffect">
                                  <p:stCondLst>
                                    <p:cond delay="1000"/>
                                  </p:stCondLst>
                                  <p:childTnLst>
                                    <p:set>
                                      <p:cBhvr>
                                        <p:cTn id="22" dur="1" fill="hold">
                                          <p:stCondLst>
                                            <p:cond delay="0"/>
                                          </p:stCondLst>
                                        </p:cTn>
                                        <p:tgtEl>
                                          <p:spTgt spid="21">
                                            <p:txEl>
                                              <p:pRg st="0" end="0"/>
                                            </p:txEl>
                                          </p:spTgt>
                                        </p:tgtEl>
                                        <p:attrNameLst>
                                          <p:attrName>style.visibility</p:attrName>
                                        </p:attrNameLst>
                                      </p:cBhvr>
                                      <p:to>
                                        <p:strVal val="visible"/>
                                      </p:to>
                                    </p:set>
                                    <p:animEffect transition="in" filter="fade">
                                      <p:cBhvr>
                                        <p:cTn id="23" dur="500"/>
                                        <p:tgtEl>
                                          <p:spTgt spid="21">
                                            <p:txEl>
                                              <p:pRg st="0" end="0"/>
                                            </p:txEl>
                                          </p:spTgt>
                                        </p:tgtEl>
                                      </p:cBhvr>
                                    </p:animEffect>
                                  </p:childTnLst>
                                </p:cTn>
                              </p:par>
                              <p:par>
                                <p:cTn id="24" presetID="10" presetClass="entr" presetSubtype="0" fill="hold" grpId="0" nodeType="withEffect">
                                  <p:stCondLst>
                                    <p:cond delay="1000"/>
                                  </p:stCondLst>
                                  <p:childTnLst>
                                    <p:set>
                                      <p:cBhvr>
                                        <p:cTn id="25" dur="1" fill="hold">
                                          <p:stCondLst>
                                            <p:cond delay="0"/>
                                          </p:stCondLst>
                                        </p:cTn>
                                        <p:tgtEl>
                                          <p:spTgt spid="22">
                                            <p:txEl>
                                              <p:pRg st="0" end="0"/>
                                            </p:txEl>
                                          </p:spTgt>
                                        </p:tgtEl>
                                        <p:attrNameLst>
                                          <p:attrName>style.visibility</p:attrName>
                                        </p:attrNameLst>
                                      </p:cBhvr>
                                      <p:to>
                                        <p:strVal val="visible"/>
                                      </p:to>
                                    </p:set>
                                    <p:animEffect transition="in" filter="fade">
                                      <p:cBhvr>
                                        <p:cTn id="26"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p"/>
      <p:bldP spid="17" grpId="0" build="p"/>
      <p:bldP spid="21" grpId="0" build="p"/>
      <p:bldP spid="22"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3.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4.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5.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Office Theme">
  <a:themeElements>
    <a:clrScheme name="IVORY">
      <a:dk1>
        <a:sysClr val="windowText" lastClr="000000"/>
      </a:dk1>
      <a:lt1>
        <a:srgbClr val="FFFFFF"/>
      </a:lt1>
      <a:dk2>
        <a:srgbClr val="44546A"/>
      </a:dk2>
      <a:lt2>
        <a:srgbClr val="E7E6E6"/>
      </a:lt2>
      <a:accent1>
        <a:srgbClr val="556A85"/>
      </a:accent1>
      <a:accent2>
        <a:srgbClr val="8496B0"/>
      </a:accent2>
      <a:accent3>
        <a:srgbClr val="CC00CC"/>
      </a:accent3>
      <a:accent4>
        <a:srgbClr val="00D4AD"/>
      </a:accent4>
      <a:accent5>
        <a:srgbClr val="00B0F0"/>
      </a:accent5>
      <a:accent6>
        <a:srgbClr val="FFFFCC"/>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660FE826-304C-448F-A586-3BB11781423C}" vid="{6E343E84-6C68-4897-B606-F6F97706B6F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VORY">
    <a:dk1>
      <a:sysClr val="windowText" lastClr="000000"/>
    </a:dk1>
    <a:lt1>
      <a:srgbClr val="FFFFFF"/>
    </a:lt1>
    <a:dk2>
      <a:srgbClr val="44546A"/>
    </a:dk2>
    <a:lt2>
      <a:srgbClr val="E7E6E6"/>
    </a:lt2>
    <a:accent1>
      <a:srgbClr val="556A85"/>
    </a:accent1>
    <a:accent2>
      <a:srgbClr val="8496B0"/>
    </a:accent2>
    <a:accent3>
      <a:srgbClr val="CC00CC"/>
    </a:accent3>
    <a:accent4>
      <a:srgbClr val="00D4AD"/>
    </a:accent4>
    <a:accent5>
      <a:srgbClr val="00B0F0"/>
    </a:accent5>
    <a:accent6>
      <a:srgbClr val="FFFFCC"/>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98294e5-662f-48d8-89fd-cd0e6e1ef752">
      <Terms xmlns="http://schemas.microsoft.com/office/infopath/2007/PartnerControls"/>
    </lcf76f155ced4ddcb4097134ff3c332f>
    <TaxCatchAll xmlns="b42a19f6-649e-424c-912a-9037d474f63d"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D66E3007DE3014ABEFA36105C5A1A6A" ma:contentTypeVersion="13" ma:contentTypeDescription="Create a new document." ma:contentTypeScope="" ma:versionID="caeec362e601d97f8b23dc0c8858d290">
  <xsd:schema xmlns:xsd="http://www.w3.org/2001/XMLSchema" xmlns:xs="http://www.w3.org/2001/XMLSchema" xmlns:p="http://schemas.microsoft.com/office/2006/metadata/properties" xmlns:ns2="d98294e5-662f-48d8-89fd-cd0e6e1ef752" xmlns:ns3="b42a19f6-649e-424c-912a-9037d474f63d" targetNamespace="http://schemas.microsoft.com/office/2006/metadata/properties" ma:root="true" ma:fieldsID="b82393b78a80d5c5fef65669f61f1797" ns2:_="" ns3:_="">
    <xsd:import namespace="d98294e5-662f-48d8-89fd-cd0e6e1ef752"/>
    <xsd:import namespace="b42a19f6-649e-424c-912a-9037d474f63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98294e5-662f-48d8-89fd-cd0e6e1ef75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cda92cc5-af17-4287-9dd1-4663beed3e51"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42a19f6-649e-424c-912a-9037d474f63d"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0f93f49c-c6f3-46fc-ab7a-9f89cb2ea768}" ma:internalName="TaxCatchAll" ma:showField="CatchAllData" ma:web="b42a19f6-649e-424c-912a-9037d474f63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D1A8930-4720-4499-86C4-7E78CEA711AD}">
  <ds:schemaRefs>
    <ds:schemaRef ds:uri="http://purl.org/dc/terms/"/>
    <ds:schemaRef ds:uri="http://purl.org/dc/dcmitype/"/>
    <ds:schemaRef ds:uri="http://schemas.microsoft.com/office/2006/documentManagement/types"/>
    <ds:schemaRef ds:uri="c4550b48-9fa8-4e3e-97e9-433e5607c3f5"/>
    <ds:schemaRef ds:uri="http://purl.org/dc/elements/1.1/"/>
    <ds:schemaRef ds:uri="http://www.w3.org/XML/1998/namespace"/>
    <ds:schemaRef ds:uri="http://schemas.microsoft.com/office/infopath/2007/PartnerControls"/>
    <ds:schemaRef ds:uri="http://schemas.openxmlformats.org/package/2006/metadata/core-properties"/>
    <ds:schemaRef ds:uri="a91a1f39-691e-4ae3-80d2-c9dfaa6646ee"/>
    <ds:schemaRef ds:uri="http://schemas.microsoft.com/office/2006/metadata/properties"/>
  </ds:schemaRefs>
</ds:datastoreItem>
</file>

<file path=customXml/itemProps2.xml><?xml version="1.0" encoding="utf-8"?>
<ds:datastoreItem xmlns:ds="http://schemas.openxmlformats.org/officeDocument/2006/customXml" ds:itemID="{FFE95B09-18CE-4C11-90B0-E1CA9E97A5BB}"/>
</file>

<file path=customXml/itemProps3.xml><?xml version="1.0" encoding="utf-8"?>
<ds:datastoreItem xmlns:ds="http://schemas.openxmlformats.org/officeDocument/2006/customXml" ds:itemID="{D8260969-84AB-45DD-A8D3-78106886A6B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VORY presentation template</Template>
  <TotalTime>134</TotalTime>
  <Words>1725</Words>
  <Application>Microsoft Office PowerPoint</Application>
  <PresentationFormat>Widescreen</PresentationFormat>
  <Paragraphs>243</Paragraphs>
  <Slides>22</Slides>
  <Notes>12</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2</vt:i4>
      </vt:variant>
    </vt:vector>
  </HeadingPairs>
  <TitlesOfParts>
    <vt:vector size="27" baseType="lpstr">
      <vt:lpstr>Arial</vt:lpstr>
      <vt:lpstr>Calibri</vt:lpstr>
      <vt:lpstr>Courier New</vt:lpstr>
      <vt:lpstr>Wingdings</vt:lpstr>
      <vt:lpstr>Office Theme</vt:lpstr>
      <vt:lpstr>Ensuring ethical AI in road safety: From theory to practice</vt:lpstr>
      <vt:lpstr>AI Ethics in Road Safety</vt:lpstr>
      <vt:lpstr>PowerPoint Presentation</vt:lpstr>
      <vt:lpstr>PowerPoint Presentation</vt:lpstr>
      <vt:lpstr>Chapter | dark mode</vt:lpstr>
      <vt:lpstr>Chapter | dark mode</vt:lpstr>
      <vt:lpstr>Chapter | dark mode</vt:lpstr>
      <vt:lpstr>Chapter | dark mode</vt:lpstr>
      <vt:lpstr>Chapter | dark mode</vt:lpstr>
      <vt:lpstr>PowerPoint Presentation</vt:lpstr>
      <vt:lpstr>PowerPoint Presentation</vt:lpstr>
      <vt:lpstr>PowerPoint Presentation</vt:lpstr>
      <vt:lpstr>PowerPoint Presentation</vt:lpstr>
      <vt:lpstr>Road Assessment Programs (RAP) for safer roads</vt:lpstr>
      <vt:lpstr>Importance of automation and ethical implications</vt:lpstr>
      <vt:lpstr>Why does ethics matter in automated road coding?</vt:lpstr>
      <vt:lpstr>Coder-model disagreement in road assessment</vt:lpstr>
      <vt:lpstr>Example: Labeling Rules, Hierarchy &amp; Distance</vt:lpstr>
      <vt:lpstr>Example: Limited Visual Clues</vt:lpstr>
      <vt:lpstr>Example: Limited Visual Clues</vt:lpstr>
      <vt:lpstr>PowerPoint Presentation</vt:lpstr>
      <vt:lpstr>  Thank you for listening! </vt:lpstr>
    </vt:vector>
  </TitlesOfParts>
  <Company>TU Del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Eleonora Papadimitriou</dc:creator>
  <cp:lastModifiedBy>Amir Pooyan Afghari</cp:lastModifiedBy>
  <cp:revision>190</cp:revision>
  <dcterms:created xsi:type="dcterms:W3CDTF">2023-11-03T12:46:47Z</dcterms:created>
  <dcterms:modified xsi:type="dcterms:W3CDTF">2026-04-15T08:2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66E3007DE3014ABEFA36105C5A1A6A</vt:lpwstr>
  </property>
</Properties>
</file>